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48"/>
  </p:notesMasterIdLst>
  <p:sldIdLst>
    <p:sldId id="281" r:id="rId2"/>
    <p:sldId id="282" r:id="rId3"/>
    <p:sldId id="447" r:id="rId4"/>
    <p:sldId id="316" r:id="rId5"/>
    <p:sldId id="324" r:id="rId6"/>
    <p:sldId id="393" r:id="rId7"/>
    <p:sldId id="339" r:id="rId8"/>
    <p:sldId id="423" r:id="rId9"/>
    <p:sldId id="433" r:id="rId10"/>
    <p:sldId id="435" r:id="rId11"/>
    <p:sldId id="437" r:id="rId12"/>
    <p:sldId id="438" r:id="rId13"/>
    <p:sldId id="440" r:id="rId14"/>
    <p:sldId id="441" r:id="rId15"/>
    <p:sldId id="442" r:id="rId16"/>
    <p:sldId id="443" r:id="rId17"/>
    <p:sldId id="448" r:id="rId18"/>
    <p:sldId id="343" r:id="rId19"/>
    <p:sldId id="461" r:id="rId20"/>
    <p:sldId id="449" r:id="rId21"/>
    <p:sldId id="427" r:id="rId22"/>
    <p:sldId id="428" r:id="rId23"/>
    <p:sldId id="467" r:id="rId24"/>
    <p:sldId id="418" r:id="rId25"/>
    <p:sldId id="465" r:id="rId26"/>
    <p:sldId id="468" r:id="rId27"/>
    <p:sldId id="470" r:id="rId28"/>
    <p:sldId id="469" r:id="rId29"/>
    <p:sldId id="475" r:id="rId30"/>
    <p:sldId id="471" r:id="rId31"/>
    <p:sldId id="477" r:id="rId32"/>
    <p:sldId id="478" r:id="rId33"/>
    <p:sldId id="479" r:id="rId34"/>
    <p:sldId id="480" r:id="rId35"/>
    <p:sldId id="481" r:id="rId36"/>
    <p:sldId id="430" r:id="rId37"/>
    <p:sldId id="328" r:id="rId38"/>
    <p:sldId id="432" r:id="rId39"/>
    <p:sldId id="426" r:id="rId40"/>
    <p:sldId id="444" r:id="rId41"/>
    <p:sldId id="484" r:id="rId42"/>
    <p:sldId id="487" r:id="rId43"/>
    <p:sldId id="485" r:id="rId44"/>
    <p:sldId id="488" r:id="rId45"/>
    <p:sldId id="489" r:id="rId46"/>
    <p:sldId id="490" r:id="rId47"/>
  </p:sldIdLst>
  <p:sldSz cx="12192000" cy="6858000"/>
  <p:notesSz cx="6858000" cy="9144000"/>
  <p:custDataLst>
    <p:tags r:id="rId49"/>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49160EA5-C728-45BF-ADF8-6929055B14D0}">
          <p14:sldIdLst>
            <p14:sldId id="281"/>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 name="MOT PAPER" id="{FFC692BE-924D-4503-B90F-7F9BDE853506}">
          <p14:sldIdLst>
            <p14:sldId id="487"/>
            <p14:sldId id="485"/>
            <p14:sldId id="488"/>
            <p14:sldId id="489"/>
            <p14:sldId id="490"/>
          </p14:sldIdLst>
        </p14:section>
      </p14:sectionLst>
    </p:ex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171BE"/>
    <a:srgbClr val="EDB120"/>
    <a:srgbClr val="050909"/>
    <a:srgbClr val="680000"/>
    <a:srgbClr val="D1DCDA"/>
    <a:srgbClr val="00677F"/>
    <a:srgbClr val="C20D0D"/>
    <a:srgbClr val="03BFB5"/>
    <a:srgbClr val="D95319"/>
    <a:srgbClr val="0072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52" autoAdjust="0"/>
    <p:restoredTop sz="91839" autoAdjust="0"/>
  </p:normalViewPr>
  <p:slideViewPr>
    <p:cSldViewPr snapToGrid="0">
      <p:cViewPr>
        <p:scale>
          <a:sx n="50" d="100"/>
          <a:sy n="50" d="100"/>
        </p:scale>
        <p:origin x="3234" y="1266"/>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10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gs" Target="tags/tag1.xml"/><Relationship Id="rId106"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Nr.›</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06" imgH="306" progId="TCLayout.ActiveDocument.1">
                  <p:embed/>
                </p:oleObj>
              </mc:Choice>
              <mc:Fallback>
                <p:oleObj name="think-cell Foli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2.png"/><Relationship Id="rId10" Type="http://schemas.openxmlformats.org/officeDocument/2006/relationships/image" Target="../media/image11.png"/><Relationship Id="rId4" Type="http://schemas.openxmlformats.org/officeDocument/2006/relationships/image" Target="../media/image3.jpg"/><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1030.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8.png"/><Relationship Id="rId7" Type="http://schemas.openxmlformats.org/officeDocument/2006/relationships/diagramQuickStyle" Target="../diagrams/quickStyle2.xml"/><Relationship Id="rId12"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27.png"/><Relationship Id="rId5" Type="http://schemas.openxmlformats.org/officeDocument/2006/relationships/diagramData" Target="../diagrams/data2.xml"/><Relationship Id="rId10" Type="http://schemas.openxmlformats.org/officeDocument/2006/relationships/image" Target="../media/image40.png"/><Relationship Id="rId4" Type="http://schemas.openxmlformats.org/officeDocument/2006/relationships/image" Target="../media/image39.png"/><Relationship Id="rId9" Type="http://schemas.microsoft.com/office/2007/relationships/diagramDrawing" Target="../diagrams/drawing2.xml"/></Relationships>
</file>

<file path=ppt/slides/_rels/slide2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video" Target="../media/media2.mp4"/><Relationship Id="rId16" Type="http://schemas.openxmlformats.org/officeDocument/2006/relationships/image" Target="../media/image52.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19" Type="http://schemas.openxmlformats.org/officeDocument/2006/relationships/diagramLayout" Target="../diagrams/layout4.xml"/><Relationship Id="rId4" Type="http://schemas.openxmlformats.org/officeDocument/2006/relationships/notesSlide" Target="../notesSlides/notesSlide23.xml"/><Relationship Id="rId9" Type="http://schemas.openxmlformats.org/officeDocument/2006/relationships/image" Target="../media/image45.png"/><Relationship Id="rId14" Type="http://schemas.openxmlformats.org/officeDocument/2006/relationships/image" Target="../media/image50.svg"/><Relationship Id="rId22" Type="http://schemas.microsoft.com/office/2007/relationships/diagramDrawing" Target="../diagrams/drawing4.xml"/></Relationships>
</file>

<file path=ppt/slides/_rels/slide24.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54.png"/><Relationship Id="rId7" Type="http://schemas.openxmlformats.org/officeDocument/2006/relationships/image" Target="../media/image56.emf"/><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55.emf"/><Relationship Id="rId10" Type="http://schemas.openxmlformats.org/officeDocument/2006/relationships/image" Target="../media/image58.png"/><Relationship Id="rId4" Type="http://schemas.openxmlformats.org/officeDocument/2006/relationships/package" Target="../embeddings/Microsoft_PowerPoint_Presentation.pptx"/><Relationship Id="rId9" Type="http://schemas.openxmlformats.org/officeDocument/2006/relationships/image" Target="../media/image5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5.png"/><Relationship Id="rId3" Type="http://schemas.openxmlformats.org/officeDocument/2006/relationships/image" Target="../media/image61.png"/><Relationship Id="rId7" Type="http://schemas.openxmlformats.org/officeDocument/2006/relationships/image" Target="../media/image41.png"/><Relationship Id="rId12" Type="http://schemas.openxmlformats.org/officeDocument/2006/relationships/image" Target="../media/image44.svg"/><Relationship Id="rId2" Type="http://schemas.openxmlformats.org/officeDocument/2006/relationships/notesSlide" Target="../notesSlides/notesSlide35.xml"/><Relationship Id="rId16" Type="http://schemas.openxmlformats.org/officeDocument/2006/relationships/image" Target="../media/image52.svg"/><Relationship Id="rId1" Type="http://schemas.openxmlformats.org/officeDocument/2006/relationships/slideLayout" Target="../slideLayouts/slideLayout8.xml"/><Relationship Id="rId6" Type="http://schemas.openxmlformats.org/officeDocument/2006/relationships/image" Target="../media/image48.svg"/><Relationship Id="rId11" Type="http://schemas.openxmlformats.org/officeDocument/2006/relationships/image" Target="../media/image43.png"/><Relationship Id="rId5" Type="http://schemas.openxmlformats.org/officeDocument/2006/relationships/image" Target="../media/image47.png"/><Relationship Id="rId15" Type="http://schemas.openxmlformats.org/officeDocument/2006/relationships/image" Target="../media/image51.png"/><Relationship Id="rId10" Type="http://schemas.openxmlformats.org/officeDocument/2006/relationships/image" Target="../media/image50.svg"/><Relationship Id="rId4" Type="http://schemas.openxmlformats.org/officeDocument/2006/relationships/image" Target="../media/image62.svg"/><Relationship Id="rId9" Type="http://schemas.openxmlformats.org/officeDocument/2006/relationships/image" Target="../media/image49.png"/><Relationship Id="rId14" Type="http://schemas.openxmlformats.org/officeDocument/2006/relationships/image" Target="../media/image46.svg"/></Relationships>
</file>

<file path=ppt/slides/_rels/slide37.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6.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8.xml"/><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4.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4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9.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41.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42.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oleObject" Target="../embeddings/oleObject2.bin"/><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1.emf"/><Relationship Id="rId9" Type="http://schemas.openxmlformats.org/officeDocument/2006/relationships/image" Target="../media/image73.png"/></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8.xml"/><Relationship Id="rId4" Type="http://schemas.openxmlformats.org/officeDocument/2006/relationships/image" Target="../media/image81.png"/></Relationships>
</file>

<file path=ppt/slides/_rels/slide4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8.xml"/><Relationship Id="rId7" Type="http://schemas.openxmlformats.org/officeDocument/2006/relationships/image" Target="../media/image1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18.png"/><Relationship Id="rId7"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17.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8.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6.png"/><Relationship Id="rId7" Type="http://schemas.openxmlformats.org/officeDocument/2006/relationships/diagramColors" Target="../diagrams/colors1.xml"/><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862763" y="328259"/>
            <a:ext cx="2665611" cy="1821146"/>
            <a:chOff x="6862763" y="328259"/>
            <a:chExt cx="2665611" cy="1821146"/>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862763" y="328259"/>
              <a:ext cx="2665611" cy="1821146"/>
              <a:chOff x="7857637" y="52576"/>
              <a:chExt cx="2665611" cy="1821146"/>
            </a:xfrm>
          </p:grpSpPr>
          <p:sp>
            <p:nvSpPr>
              <p:cNvPr id="20" name="Ellipse 19"/>
              <p:cNvSpPr/>
              <p:nvPr/>
            </p:nvSpPr>
            <p:spPr>
              <a:xfrm>
                <a:off x="9820135" y="1392999"/>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857637" y="5257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7</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0</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6</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3373985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uppieren 8">
            <a:extLst>
              <a:ext uri="{FF2B5EF4-FFF2-40B4-BE49-F238E27FC236}">
                <a16:creationId xmlns:a16="http://schemas.microsoft.com/office/drawing/2014/main" id="{9879FFF7-09C0-90FE-FBD7-36FFE6726B57}"/>
              </a:ext>
            </a:extLst>
          </p:cNvPr>
          <p:cNvGrpSpPr/>
          <p:nvPr/>
        </p:nvGrpSpPr>
        <p:grpSpPr>
          <a:xfrm>
            <a:off x="2690231" y="196850"/>
            <a:ext cx="4996444" cy="6138623"/>
            <a:chOff x="2690231" y="196850"/>
            <a:chExt cx="4996444" cy="6138623"/>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90231" y="196850"/>
              <a:ext cx="4996444" cy="6138623"/>
              <a:chOff x="2690231" y="196850"/>
              <a:chExt cx="4996444" cy="6138623"/>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90231" y="196850"/>
                <a:ext cx="4996444" cy="6138623"/>
                <a:chOff x="2690231" y="196850"/>
                <a:chExt cx="4996444" cy="6138623"/>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90231" y="196850"/>
                  <a:ext cx="4996444" cy="6138623"/>
                  <a:chOff x="2690231" y="196850"/>
                  <a:chExt cx="4996444" cy="6138623"/>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90231" y="196850"/>
                    <a:ext cx="4996444" cy="6138623"/>
                    <a:chOff x="4445879" y="-158352"/>
                    <a:chExt cx="4996444" cy="6138623"/>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45879" y="-158352"/>
                      <a:ext cx="4996444" cy="6138623"/>
                      <a:chOff x="4445879" y="-158352"/>
                      <a:chExt cx="4996444" cy="6138623"/>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45879" y="-158352"/>
                        <a:ext cx="4996444" cy="6138623"/>
                        <a:chOff x="4618443" y="-5196"/>
                        <a:chExt cx="4996444" cy="6138623"/>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6"/>
                          <a:ext cx="3980214" cy="3983976"/>
                        </a:xfrm>
                        <a:prstGeom prst="rect">
                          <a:avLst/>
                        </a:prstGeom>
                        <a:solidFill>
                          <a:srgbClr val="E6E6E6"/>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618443" y="202827"/>
                          <a:ext cx="4996444" cy="5930600"/>
                          <a:chOff x="4618443" y="202827"/>
                          <a:chExt cx="4996444" cy="5930600"/>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618443" y="202827"/>
                            <a:ext cx="4996444" cy="5930600"/>
                            <a:chOff x="4618443" y="202827"/>
                            <a:chExt cx="4996444" cy="5930600"/>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618443" y="202827"/>
                              <a:ext cx="4996444" cy="5930600"/>
                              <a:chOff x="4618443" y="202827"/>
                              <a:chExt cx="4996444" cy="5930600"/>
                            </a:xfrm>
                          </p:grpSpPr>
                          <mc:AlternateContent xmlns:mc="http://schemas.openxmlformats.org/markup-compatibility/2006" xmlns:a14="http://schemas.microsoft.com/office/drawing/2010/main">
                            <mc:Choice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100" kern="1200" dirty="0">
                                            <a:solidFill>
                                              <a:prstClr val="white"/>
                                            </a:solidFill>
                                            <a:latin typeface="Cambria Math" panose="02040503050406030204" pitchFamily="18" charset="0"/>
                                          </a:rPr>
                                          <m:t> </m:t>
                                        </m:r>
                                      </m:oMath>
                                    </a14:m>
                                    <a:r>
                                      <a:rPr lang="en-US" sz="1100" kern="1200" dirty="0">
                                        <a:solidFill>
                                          <a:prstClr val="white"/>
                                        </a:solidFill>
                                        <a:latin typeface="Daimler CS" pitchFamily="2" charset="0"/>
                                      </a:rPr>
                                      <a:t>Hiddenstatevector</a:t>
                                    </a:r>
                                  </a:p>
                                  <a:p>
                                    <a:pPr defTabSz="1088333">
                                      <a:buClrTx/>
                                    </a:pPr>
                                    <a:endParaRPr lang="en-US" sz="1100" kern="1200" dirty="0">
                                      <a:solidFill>
                                        <a:prstClr val="white"/>
                                      </a:solidFill>
                                      <a:latin typeface="Daimler CS" pitchFamily="2" charset="0"/>
                                    </a:endParaRPr>
                                  </a:p>
                                </p:txBody>
                              </p:sp>
                            </mc:Choice>
                            <mc:Fallback xmlns="">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618443" y="202827"/>
                                <a:ext cx="4996444" cy="5930600"/>
                                <a:chOff x="3729626" y="772958"/>
                                <a:chExt cx="4996444" cy="5930600"/>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729626" y="772958"/>
                                  <a:ext cx="4996444" cy="5930600"/>
                                  <a:chOff x="4675145" y="953070"/>
                                  <a:chExt cx="4996444" cy="5930600"/>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4741066" y="2659787"/>
                                    <a:ext cx="4930523" cy="4223883"/>
                                    <a:chOff x="2850775" y="2703757"/>
                                    <a:chExt cx="4930523" cy="4223883"/>
                                  </a:xfrm>
                                </p:grpSpPr>
                                <mc:AlternateContent xmlns:mc="http://schemas.openxmlformats.org/markup-compatibility/2006" xmlns:a14="http://schemas.microsoft.com/office/drawing/2010/main">
                                  <mc:Choice Requires="a14">
                                    <p:sp>
                                      <p:nvSpPr>
                                        <p:cNvPr id="173" name="Textfeld 172">
                                          <a:extLst>
                                            <a:ext uri="{FF2B5EF4-FFF2-40B4-BE49-F238E27FC236}">
                                              <a16:creationId xmlns:a16="http://schemas.microsoft.com/office/drawing/2014/main" id="{7DAC3F07-EE5F-5828-472B-38EF64910B6F}"/>
                                            </a:ext>
                                          </a:extLst>
                                        </p:cNvPr>
                                        <p:cNvSpPr txBox="1"/>
                                        <p:nvPr/>
                                      </p:nvSpPr>
                                      <p:spPr>
                                        <a:xfrm>
                                          <a:off x="2850775" y="4849186"/>
                                          <a:ext cx="4930523" cy="2078454"/>
                                        </a:xfrm>
                                        <a:prstGeom prst="rect">
                                          <a:avLst/>
                                        </a:prstGeom>
                                        <a:noFill/>
                                        <a:ln w="6350">
                                          <a:solidFill>
                                            <a:schemeClr val="tx1"/>
                                          </a:solidFill>
                                        </a:ln>
                                      </p:spPr>
                                      <p:txBody>
                                        <a:bodyPr wrap="square" rtlCol="0">
                                          <a:spAutoFit/>
                                        </a:bodyPr>
                                        <a:lstStyle/>
                                        <a:p>
                                          <a14:m>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a14:m>
                                          <a:r>
                                            <a:rPr lang="de-DE" b="0" dirty="0"/>
                                            <a:t>	</a:t>
                                          </a:r>
                                          <a:r>
                                            <a:rPr lang="de-DE" dirty="0"/>
                                            <a:t> </a:t>
                                          </a:r>
                                          <a14:m>
                                            <m:oMath xmlns:m="http://schemas.openxmlformats.org/officeDocument/2006/math">
                                              <m:r>
                                                <a:rPr lang="de-DE" i="1">
                                                  <a:latin typeface="Cambria Math" panose="02040503050406030204" pitchFamily="18" charset="0"/>
                                                </a:rPr>
                                                <m:t>−</m:t>
                                              </m:r>
                                              <m:r>
                                                <a:rPr lang="de-DE" b="0" i="1" smtClean="0">
                                                  <a:latin typeface="Cambria Math" panose="02040503050406030204" pitchFamily="18" charset="0"/>
                                                </a:rPr>
                                                <m:t> </m:t>
                                              </m:r>
                                              <m:r>
                                                <a:rPr lang="de-DE" i="1">
                                                  <a:latin typeface="Cambria Math" panose="02040503050406030204" pitchFamily="18" charset="0"/>
                                                </a:rPr>
                                                <m:t>𝑆𝑒𝑛𝑠𝑜𝑟𝑜𝑏𝑗𝑒𝑐𝑡𝑠</m:t>
                                              </m:r>
                                              <m:r>
                                                <a:rPr lang="de-DE" i="1">
                                                  <a:latin typeface="Cambria Math" panose="02040503050406030204" pitchFamily="18" charset="0"/>
                                                </a:rPr>
                                                <m:t> 1:</m:t>
                                              </m:r>
                                              <m:r>
                                                <a:rPr lang="de-DE" i="1">
                                                  <a:latin typeface="Cambria Math" panose="02040503050406030204" pitchFamily="18" charset="0"/>
                                                </a:rPr>
                                                <m:t>𝑚</m:t>
                                              </m:r>
                                              <m:r>
                                                <a:rPr lang="de-DE" i="1">
                                                  <a:latin typeface="Cambria Math" panose="02040503050406030204" pitchFamily="18" charset="0"/>
                                                </a:rPr>
                                                <m:t> </m:t>
                                              </m:r>
                                              <m:r>
                                                <a:rPr lang="de-DE" i="1">
                                                  <a:latin typeface="Cambria Math" panose="02040503050406030204" pitchFamily="18" charset="0"/>
                                                </a:rPr>
                                                <m:t>𝑎𝑡</m:t>
                                              </m:r>
                                              <m:r>
                                                <a:rPr lang="de-DE" i="1">
                                                  <a:latin typeface="Cambria Math" panose="02040503050406030204" pitchFamily="18" charset="0"/>
                                                </a:rPr>
                                                <m:t> </m:t>
                                              </m:r>
                                              <m:r>
                                                <a:rPr lang="de-DE" i="1">
                                                  <a:latin typeface="Cambria Math" panose="02040503050406030204" pitchFamily="18" charset="0"/>
                                                </a:rPr>
                                                <m:t>𝑡𝑖𝑚𝑒𝑠𝑡𝑒𝑝</m:t>
                                              </m:r>
                                              <m:r>
                                                <a:rPr lang="de-DE" i="1">
                                                  <a:latin typeface="Cambria Math" panose="02040503050406030204" pitchFamily="18" charset="0"/>
                                                </a:rPr>
                                                <m:t> </m:t>
                                              </m:r>
                                              <m:r>
                                                <a:rPr lang="de-DE" i="1">
                                                  <a:latin typeface="Cambria Math" panose="02040503050406030204" pitchFamily="18" charset="0"/>
                                                </a:rPr>
                                                <m:t>𝑡</m:t>
                                              </m:r>
                                            </m:oMath>
                                          </a14:m>
                                          <a:endParaRPr lang="de-DE" b="0" dirty="0"/>
                                        </a:p>
                                        <a:p>
                                          <a14:m>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𝐴</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𝑚</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m:rPr>
                                                  <m:nor/>
                                                </m:rPr>
                                                <a:rPr lang="en-US" i="1" dirty="0">
                                                  <a:latin typeface="Cambria Math" panose="02040503050406030204" pitchFamily="18" charset="0"/>
                                                </a:rPr>
                                                <m:t>Assignment</m:t>
                                              </m:r>
                                              <m:r>
                                                <m:rPr>
                                                  <m:nor/>
                                                </m:rPr>
                                                <a:rPr lang="en-US" i="1" dirty="0">
                                                  <a:latin typeface="Cambria Math" panose="02040503050406030204" pitchFamily="18" charset="0"/>
                                                </a:rPr>
                                                <m:t> </m:t>
                                              </m:r>
                                              <m:r>
                                                <m:rPr>
                                                  <m:nor/>
                                                </m:rPr>
                                                <a:rPr lang="en-US" i="1" dirty="0">
                                                  <a:latin typeface="Cambria Math" panose="02040503050406030204" pitchFamily="18" charset="0"/>
                                                </a:rPr>
                                                <m:t>of</m:t>
                                              </m:r>
                                              <m:r>
                                                <m:rPr>
                                                  <m:nor/>
                                                </m:rPr>
                                                <a:rPr lang="en-US" i="1" dirty="0">
                                                  <a:latin typeface="Cambria Math" panose="02040503050406030204" pitchFamily="18" charset="0"/>
                                                </a:rPr>
                                                <m:t> </m:t>
                                              </m:r>
                                              <m:r>
                                                <m:rPr>
                                                  <m:nor/>
                                                </m:rPr>
                                                <a:rPr lang="en-US" i="1" dirty="0">
                                                  <a:latin typeface="Cambria Math" panose="02040503050406030204" pitchFamily="18" charset="0"/>
                                                </a:rPr>
                                                <m:t>sensor</m:t>
                                              </m:r>
                                              <m:r>
                                                <m:rPr>
                                                  <m:nor/>
                                                </m:rPr>
                                                <a:rPr lang="en-US" i="1" dirty="0">
                                                  <a:latin typeface="Cambria Math" panose="02040503050406030204" pitchFamily="18" charset="0"/>
                                                </a:rPr>
                                                <m:t> </m:t>
                                              </m:r>
                                              <m:r>
                                                <m:rPr>
                                                  <m:nor/>
                                                </m:rPr>
                                                <a:rPr lang="en-US" i="1" dirty="0">
                                                  <a:latin typeface="Cambria Math" panose="02040503050406030204" pitchFamily="18" charset="0"/>
                                                </a:rPr>
                                                <m:t>object</m:t>
                                              </m:r>
                                              <m:r>
                                                <m:rPr>
                                                  <m:nor/>
                                                </m:rPr>
                                                <a:rPr lang="en-US" i="1" dirty="0">
                                                  <a:latin typeface="Cambria Math" panose="02040503050406030204" pitchFamily="18" charset="0"/>
                                                </a:rPr>
                                                <m:t> 1:</m:t>
                                              </m:r>
                                              <m:r>
                                                <m:rPr>
                                                  <m:nor/>
                                                </m:rPr>
                                                <a:rPr lang="en-US" i="1" dirty="0">
                                                  <a:latin typeface="Cambria Math" panose="02040503050406030204" pitchFamily="18" charset="0"/>
                                                </a:rPr>
                                                <m:t>m</m:t>
                                              </m:r>
                                              <m:r>
                                                <m:rPr>
                                                  <m:nor/>
                                                </m:rPr>
                                                <a:rPr lang="de-DE" b="0" i="1" dirty="0" smtClean="0">
                                                  <a:latin typeface="Cambria Math" panose="02040503050406030204" pitchFamily="18" charset="0"/>
                                                </a:rPr>
                                                <m:t> </m:t>
                                              </m:r>
                                              <m:r>
                                                <m:rPr>
                                                  <m:nor/>
                                                </m:rPr>
                                                <a:rPr lang="de-DE" b="0" i="1" dirty="0" smtClean="0">
                                                  <a:latin typeface="Cambria Math" panose="02040503050406030204" pitchFamily="18" charset="0"/>
                                                </a:rPr>
                                                <m:t>to</m:t>
                                              </m:r>
                                            </m:oMath>
                                          </a14:m>
                                          <a:endParaRPr lang="de-DE" b="0" i="1" dirty="0">
                                            <a:latin typeface="Cambria Math" panose="02040503050406030204" pitchFamily="18" charset="0"/>
                                          </a:endParaRPr>
                                        </a:p>
                                        <a:p>
                                          <a:r>
                                            <a:rPr lang="de-DE" dirty="0"/>
                                            <a:t>	</a:t>
                                          </a:r>
                                          <a:r>
                                            <a:rPr lang="en-US" dirty="0"/>
                                            <a:t> </a:t>
                                          </a:r>
                                          <a14:m>
                                            <m:oMath xmlns:m="http://schemas.openxmlformats.org/officeDocument/2006/math">
                                              <m:r>
                                                <a:rPr lang="de-DE" b="0" i="0"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r>
                                                <a:rPr lang="de-DE" i="1" dirty="0">
                                                  <a:latin typeface="Cambria Math" panose="02040503050406030204" pitchFamily="18" charset="0"/>
                                                </a:rPr>
                                                <m:t> </m:t>
                                              </m:r>
                                            </m:oMath>
                                          </a14:m>
                                          <a:r>
                                            <a:rPr lang="de-DE" dirty="0"/>
                                            <a:t>	</a:t>
                                          </a:r>
                                          <a:br>
                                            <a:rPr lang="en-US" i="1" dirty="0">
                                              <a:latin typeface="Cambria Math" panose="02040503050406030204" pitchFamily="18" charset="0"/>
                                            </a:rPr>
                                          </a:br>
                                          <a:endParaRPr lang="en-US"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𝑢</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𝑈𝑝𝑑𝑎𝑡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dirty="0"/>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𝑐</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en-US"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en-US" i="1" dirty="0">
                                            <a:latin typeface="Cambria Math" panose="02040503050406030204" pitchFamily="18" charset="0"/>
                                          </a:endParaRPr>
                                        </a:p>
                                        <a:p>
                                          <a:endParaRPr lang="de-DE" b="0" i="1" dirty="0">
                                            <a:latin typeface="Cambria Math" panose="02040503050406030204" pitchFamily="18" charset="0"/>
                                          </a:endParaRPr>
                                        </a:p>
                                        <a:p>
                                          <a:pPr/>
                                          <a14:m>
                                            <m:oMathPara xmlns:m="http://schemas.openxmlformats.org/officeDocument/2006/math">
                                              <m:oMathParaPr>
                                                <m:jc m:val="left"/>
                                              </m:oMathParaPr>
                                              <m:oMath xmlns:m="http://schemas.openxmlformats.org/officeDocument/2006/math">
                                                <m:r>
                                                  <a:rPr lang="de-DE" b="0" i="1" dirty="0" smtClean="0">
                                                    <a:latin typeface="Cambria Math" panose="02040503050406030204" pitchFamily="18" charset="0"/>
                                                  </a:rPr>
                                                  <m:t>𝑛</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Hiddenstatevectors</m:t>
                                                </m:r>
                                                <m:r>
                                                  <m:rPr>
                                                    <m:nor/>
                                                  </m:rPr>
                                                  <a:rPr lang="en-US" i="1" dirty="0">
                                                    <a:latin typeface="Cambria Math" panose="02040503050406030204" pitchFamily="18" charset="0"/>
                                                  </a:rPr>
                                                  <m:t>  </m:t>
                                                </m:r>
                                                <m:r>
                                                  <m:rPr>
                                                    <m:nor/>
                                                  </m:rPr>
                                                  <a:rPr lang="en-US" i="1" dirty="0">
                                                    <a:latin typeface="Cambria Math" panose="02040503050406030204" pitchFamily="18" charset="0"/>
                                                  </a:rPr>
                                                  <m:t>for</m:t>
                                                </m:r>
                                                <m:r>
                                                  <m:rPr>
                                                    <m:nor/>
                                                  </m:rPr>
                                                  <a:rPr lang="en-US" i="1" dirty="0">
                                                    <a:latin typeface="Cambria Math" panose="02040503050406030204" pitchFamily="18" charset="0"/>
                                                  </a:rPr>
                                                  <m:t>  </m:t>
                                                </m:r>
                                                <m:r>
                                                  <a:rPr lang="de-DE" i="1" dirty="0">
                                                    <a:latin typeface="Cambria Math" panose="02040503050406030204" pitchFamily="18" charset="0"/>
                                                  </a:rPr>
                                                  <m:t>𝑛</m:t>
                                                </m:r>
                                                <m:r>
                                                  <a:rPr lang="de-DE" i="1" dirty="0">
                                                    <a:latin typeface="Cambria Math" panose="02040503050406030204" pitchFamily="18" charset="0"/>
                                                  </a:rPr>
                                                  <m:t> </m:t>
                                                </m:r>
                                                <m:r>
                                                  <m:rPr>
                                                    <m:nor/>
                                                  </m:rPr>
                                                  <a:rPr lang="en-US" i="1" dirty="0">
                                                    <a:latin typeface="Cambria Math" panose="02040503050406030204" pitchFamily="18" charset="0"/>
                                                  </a:rPr>
                                                  <m:t>confirmed</m:t>
                                                </m:r>
                                                <m:r>
                                                  <m:rPr>
                                                    <m:nor/>
                                                  </m:rPr>
                                                  <a:rPr lang="en-US" i="1" dirty="0">
                                                    <a:latin typeface="Cambria Math" panose="02040503050406030204" pitchFamily="18" charset="0"/>
                                                  </a:rPr>
                                                  <m:t> </m:t>
                                                </m:r>
                                                <m:r>
                                                  <m:rPr>
                                                    <m:nor/>
                                                  </m:rPr>
                                                  <a:rPr lang="en-US" i="1" dirty="0">
                                                    <a:latin typeface="Cambria Math" panose="02040503050406030204" pitchFamily="18" charset="0"/>
                                                  </a:rPr>
                                                  <m:t>tracks</m:t>
                                                </m:r>
                                                <m:r>
                                                  <m:rPr>
                                                    <m:nor/>
                                                  </m:rPr>
                                                  <a:rPr lang="de-DE" b="0" i="1" dirty="0" smtClean="0">
                                                    <a:latin typeface="Cambria Math" panose="02040503050406030204" pitchFamily="18" charset="0"/>
                                                  </a:rPr>
                                                  <m:t>    </m:t>
                                                </m:r>
                                              </m:oMath>
                                            </m:oMathPara>
                                          </a14:m>
                                          <a:endParaRPr lang="en-US" i="1" dirty="0">
                                            <a:latin typeface="Cambria Math" panose="02040503050406030204" pitchFamily="18" charset="0"/>
                                          </a:endParaRPr>
                                        </a:p>
                                      </p:txBody>
                                    </p:sp>
                                  </mc:Choice>
                                  <mc:Fallback xmlns="">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2850775" y="4849186"/>
                                          <a:ext cx="4930523" cy="2078454"/>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2" name="Textfeld 171">
                                          <a:extLst>
                                            <a:ext uri="{FF2B5EF4-FFF2-40B4-BE49-F238E27FC236}">
                                              <a16:creationId xmlns:a16="http://schemas.microsoft.com/office/drawing/2014/main" id="{1A9F2A70-E78B-41AC-F0DA-7E233D64E5B0}"/>
                                            </a:ext>
                                          </a:extLst>
                                        </p:cNvPr>
                                        <p:cNvSpPr txBox="1"/>
                                        <p:nvPr/>
                                      </p:nvSpPr>
                                      <p:spPr>
                                        <a:xfrm>
                                          <a:off x="7230861"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30861" y="2703757"/>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953070"/>
                                    <a:ext cx="1925557" cy="1634689"/>
                                    <a:chOff x="5269984" y="953070"/>
                                    <a:chExt cx="1925557" cy="1634689"/>
                                  </a:xfrm>
                                </p:grpSpPr>
                                <mc:AlternateContent xmlns:mc="http://schemas.openxmlformats.org/markup-compatibility/2006" xmlns:a14="http://schemas.microsoft.com/office/drawing/2010/main">
                                  <mc:Choice Requires="a14">
                                    <p:sp>
                                      <p:nvSpPr>
                                        <p:cNvPr id="166" name="Rectangle 21">
                                          <a:extLst>
                                            <a:ext uri="{FF2B5EF4-FFF2-40B4-BE49-F238E27FC236}">
                                              <a16:creationId xmlns:a16="http://schemas.microsoft.com/office/drawing/2014/main" id="{572AC2C1-400A-F009-3D69-26D508BF66E8}"/>
                                            </a:ext>
                                          </a:extLst>
                                        </p:cNvPr>
                                        <p:cNvSpPr/>
                                        <p:nvPr/>
                                      </p:nvSpPr>
                                      <p:spPr>
                                        <a:xfrm>
                                          <a:off x="5431541" y="953070"/>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100" i="1" kern="1200" dirty="0" smtClean="0">
                                                  <a:solidFill>
                                                    <a:prstClr val="white"/>
                                                  </a:solidFill>
                                                  <a:latin typeface="Cambria Math" panose="02040503050406030204" pitchFamily="18" charset="0"/>
                                                </a:rPr>
                                                <m:t>𝑛</m:t>
                                              </m:r>
                                              <m:r>
                                                <a:rPr lang="en-US" sz="1100" i="1" kern="1200" dirty="0" smtClean="0">
                                                  <a:solidFill>
                                                    <a:prstClr val="white"/>
                                                  </a:solidFill>
                                                  <a:latin typeface="Cambria Math" panose="02040503050406030204" pitchFamily="18" charset="0"/>
                                                </a:rPr>
                                                <m:t> </m:t>
                                              </m:r>
                                            </m:oMath>
                                          </a14:m>
                                          <a:r>
                                            <a:rPr lang="en-US" sz="1100" kern="1200" dirty="0">
                                              <a:solidFill>
                                                <a:prstClr val="white"/>
                                              </a:solidFill>
                                              <a:latin typeface="Daimler CS" pitchFamily="2" charset="0"/>
                                            </a:rPr>
                                            <a:t>Hiddenstatevectors</a:t>
                                          </a:r>
                                        </a:p>
                                      </p:txBody>
                                    </p:sp>
                                  </mc:Choice>
                                  <mc:Fallback xmlns="">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31541" y="953070"/>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347289" y="122130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169" name="Rectangle 15">
                                      <a:extLst>
                                        <a:ext uri="{FF2B5EF4-FFF2-40B4-BE49-F238E27FC236}">
                                          <a16:creationId xmlns:a16="http://schemas.microsoft.com/office/drawing/2014/main" id="{2694F5EA-C5DC-B203-E4CE-45B8A1E1E2EE}"/>
                                        </a:ext>
                                      </a:extLst>
                                    </p:cNvPr>
                                    <p:cNvSpPr/>
                                    <p:nvPr/>
                                  </p:nvSpPr>
                                  <p:spPr>
                                    <a:xfrm rot="5400000">
                                      <a:off x="5794081" y="1076215"/>
                                      <a:ext cx="720000" cy="1620000"/>
                                    </a:xfrm>
                                    <a:prstGeom prst="rect">
                                      <a:avLst/>
                                    </a:prstGeom>
                                    <a:solidFill>
                                      <a:srgbClr val="1171BE">
                                        <a:alpha val="50000"/>
                                      </a:srgbClr>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800"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0556"/>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0556"/>
                                          <a:ext cx="513909" cy="317203"/>
                                        </a:xfrm>
                                        <a:prstGeom prst="rect">
                                          <a:avLst/>
                                        </a:prstGeom>
                                        <a:blipFill>
                                          <a:blip r:embed="rId9"/>
                                          <a:stretch>
                                            <a:fillRect/>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75145" y="2865372"/>
                                    <a:ext cx="2383694" cy="1159368"/>
                                    <a:chOff x="4764045" y="2865372"/>
                                    <a:chExt cx="2383694" cy="1159368"/>
                                  </a:xfrm>
                                </p:grpSpPr>
                                <mc:AlternateContent xmlns:mc="http://schemas.openxmlformats.org/markup-compatibility/2006" xmlns:a14="http://schemas.microsoft.com/office/drawing/2010/main">
                                  <mc:Choice Requires="a14">
                                    <p:sp>
                                      <p:nvSpPr>
                                        <p:cNvPr id="164" name="Textfeld 163">
                                          <a:extLst>
                                            <a:ext uri="{FF2B5EF4-FFF2-40B4-BE49-F238E27FC236}">
                                              <a16:creationId xmlns:a16="http://schemas.microsoft.com/office/drawing/2014/main" id="{BDB86E56-542A-0930-47EF-762C789F01D8}"/>
                                            </a:ext>
                                          </a:extLst>
                                        </p:cNvPr>
                                        <p:cNvSpPr txBox="1"/>
                                        <p:nvPr/>
                                      </p:nvSpPr>
                                      <p:spPr>
                                        <a:xfrm>
                                          <a:off x="4764045"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64045" y="3707537"/>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1171BE">
                                        <a:alpha val="50000"/>
                                      </a:srgbClr>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800" kern="1200" dirty="0">
                                          <a:solidFill>
                                            <a:prstClr val="white"/>
                                          </a:solidFill>
                                          <a:latin typeface="Daimler CS" pitchFamily="2" charset="0"/>
                                        </a:rPr>
                                        <a:t>Association Network</a:t>
                                      </a:r>
                                    </a:p>
                                  </p:txBody>
                                </p:sp>
                              </p:grpSp>
                            </p:grpSp>
                            <mc:AlternateContent xmlns:mc="http://schemas.openxmlformats.org/markup-compatibility/2006" xmlns:a14="http://schemas.microsoft.com/office/drawing/2010/main">
                              <mc:Choice Requires="a14">
                                <p:sp>
                                  <p:nvSpPr>
                                    <p:cNvPr id="158" name="Textfeld 157">
                                      <a:extLst>
                                        <a:ext uri="{FF2B5EF4-FFF2-40B4-BE49-F238E27FC236}">
                                          <a16:creationId xmlns:a16="http://schemas.microsoft.com/office/drawing/2014/main" id="{1C215A16-D26E-A8A8-24F7-FB974EF1D545}"/>
                                        </a:ext>
                                      </a:extLst>
                                    </p:cNvPr>
                                    <p:cNvSpPr txBox="1"/>
                                    <p:nvPr/>
                                  </p:nvSpPr>
                                  <p:spPr>
                                    <a:xfrm>
                                      <a:off x="7627198" y="83864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627198" y="838646"/>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767281" y="2704333"/>
                              <a:ext cx="720000" cy="1620000"/>
                            </a:xfrm>
                            <a:prstGeom prst="rect">
                              <a:avLst/>
                            </a:pr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94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a:stCxn id="7" idx="0"/>
                        <a:endCxn id="186" idx="1"/>
                      </p:cNvCxnSpPr>
                      <p:nvPr/>
                    </p:nvCxnSpPr>
                    <p:spPr>
                      <a:xfrm rot="16200000" flipV="1">
                        <a:off x="7465394" y="-188798"/>
                        <a:ext cx="89303" cy="1712532"/>
                      </a:xfrm>
                      <a:prstGeom prst="bentConnector3">
                        <a:avLst>
                          <a:gd name="adj1" fmla="val 655315"/>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56519" y="2468287"/>
                        <a:ext cx="799368" cy="506739"/>
                      </a:xfrm>
                      <a:prstGeom prst="bentConnector4">
                        <a:avLst>
                          <a:gd name="adj1" fmla="val -28598"/>
                          <a:gd name="adj2" fmla="val 67124"/>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55355"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𝑢</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2"/>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48209" y="2875519"/>
                <a:ext cx="239836" cy="1441883"/>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0961"/>
                <a:ext cx="298033" cy="147541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accent3">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250663" y="1067321"/>
              <a:ext cx="720000" cy="1620000"/>
            </a:xfrm>
            <a:prstGeom prst="rect">
              <a:avLst/>
            </a:pr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Confirmation</a:t>
              </a:r>
              <a:endParaRPr lang="de-DE" sz="1100" dirty="0"/>
            </a:p>
          </p:txBody>
        </p:sp>
        <p:sp>
          <p:nvSpPr>
            <p:cNvPr id="8" name="Rectangle 19">
              <a:extLst>
                <a:ext uri="{FF2B5EF4-FFF2-40B4-BE49-F238E27FC236}">
                  <a16:creationId xmlns:a16="http://schemas.microsoft.com/office/drawing/2014/main" id="{F627DA6C-5916-A92B-F4FA-9839FEA516D4}"/>
                </a:ext>
              </a:extLst>
            </p:cNvPr>
            <p:cNvSpPr/>
            <p:nvPr/>
          </p:nvSpPr>
          <p:spPr>
            <a:xfrm>
              <a:off x="5466284" y="1084119"/>
              <a:ext cx="720000" cy="1620000"/>
            </a:xfrm>
            <a:prstGeom prst="rect">
              <a:avLst/>
            </a:pr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Delete</a:t>
              </a:r>
            </a:p>
          </p:txBody>
        </p:sp>
      </p:grpSp>
      <p:sp>
        <p:nvSpPr>
          <p:cNvPr id="5" name="Textfeld 4">
            <a:extLst>
              <a:ext uri="{FF2B5EF4-FFF2-40B4-BE49-F238E27FC236}">
                <a16:creationId xmlns:a16="http://schemas.microsoft.com/office/drawing/2014/main" id="{8FB390D8-CA1A-7DF6-1E0B-10CEE6F3354D}"/>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779775863"/>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632486" y="80308"/>
            <a:ext cx="4215864" cy="6659283"/>
            <a:chOff x="3632736" y="-66675"/>
            <a:chExt cx="4215864" cy="6659283"/>
          </a:xfrm>
        </p:grpSpPr>
        <p:sp>
          <p:nvSpPr>
            <p:cNvPr id="19" name="Rechteck 18">
              <a:extLst>
                <a:ext uri="{FF2B5EF4-FFF2-40B4-BE49-F238E27FC236}">
                  <a16:creationId xmlns:a16="http://schemas.microsoft.com/office/drawing/2014/main" id="{EECCDEF0-5E45-804D-745D-F949B80BEC5E}"/>
                </a:ext>
              </a:extLst>
            </p:cNvPr>
            <p:cNvSpPr/>
            <p:nvPr/>
          </p:nvSpPr>
          <p:spPr>
            <a:xfrm>
              <a:off x="3632736" y="-66675"/>
              <a:ext cx="4215864" cy="6654092"/>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632736" y="0"/>
              <a:ext cx="4215864" cy="6592608"/>
              <a:chOff x="3651786" y="176811"/>
              <a:chExt cx="4215864" cy="6592608"/>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651786" y="176811"/>
                <a:ext cx="4215864" cy="6592608"/>
                <a:chOff x="1490477" y="1988211"/>
                <a:chExt cx="4215864" cy="6592608"/>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490477" y="2258794"/>
                  <a:ext cx="4215864" cy="6322025"/>
                  <a:chOff x="1490477" y="2258794"/>
                  <a:chExt cx="4215864" cy="6322025"/>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4"/>
                    <a:ext cx="3938865" cy="2653945"/>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5619098"/>
                    <a:ext cx="3938865" cy="2681614"/>
                  </a:xfrm>
                  <a:prstGeom prst="rect">
                    <a:avLst/>
                  </a:prstGeom>
                </p:spPr>
              </p:pic>
              <p:sp>
                <p:nvSpPr>
                  <p:cNvPr id="197" name="Textfeld 196">
                    <a:extLst>
                      <a:ext uri="{FF2B5EF4-FFF2-40B4-BE49-F238E27FC236}">
                        <a16:creationId xmlns:a16="http://schemas.microsoft.com/office/drawing/2014/main" id="{1B34C028-923D-E300-49A5-43459286CA75}"/>
                      </a:ext>
                    </a:extLst>
                  </p:cNvPr>
                  <p:cNvSpPr txBox="1"/>
                  <p:nvPr/>
                </p:nvSpPr>
                <p:spPr>
                  <a:xfrm rot="16200000">
                    <a:off x="372519" y="6764725"/>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199" name="Textfeld 198">
                    <a:extLst>
                      <a:ext uri="{FF2B5EF4-FFF2-40B4-BE49-F238E27FC236}">
                        <a16:creationId xmlns:a16="http://schemas.microsoft.com/office/drawing/2014/main" id="{39AF27F0-7E29-50E6-ADAD-6C19AD3A5E00}"/>
                      </a:ext>
                    </a:extLst>
                  </p:cNvPr>
                  <p:cNvSpPr txBox="1"/>
                  <p:nvPr/>
                </p:nvSpPr>
                <p:spPr>
                  <a:xfrm>
                    <a:off x="3023948" y="8303820"/>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198821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535804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533828" y="1565352"/>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3104447"/>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grpSp>
      <p:sp>
        <p:nvSpPr>
          <p:cNvPr id="2" name="Textfeld 1">
            <a:extLst>
              <a:ext uri="{FF2B5EF4-FFF2-40B4-BE49-F238E27FC236}">
                <a16:creationId xmlns:a16="http://schemas.microsoft.com/office/drawing/2014/main" id="{916C4B45-AA4A-1115-EE26-364C6AAB530F}"/>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721056932"/>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LSTM neural network architecture. Input layer consists of 10 sequential time steps (10 × 30 sec = 5 min), each containing 32 feature-channel combinations (2 features × 16 channels). LSTM layer consists of 10 LSTM cells each having 100 hidden units. FC = fully connected layer taking output matrix (h10) from 10th LSTM cell. Output layer consists of 2 nodes for binary classification.">
            <a:extLst>
              <a:ext uri="{FF2B5EF4-FFF2-40B4-BE49-F238E27FC236}">
                <a16:creationId xmlns:a16="http://schemas.microsoft.com/office/drawing/2014/main" id="{0DB7EBBC-8CD9-E0AE-BF58-48D8C286F43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736"/>
          <a:stretch/>
        </p:blipFill>
        <p:spPr bwMode="auto">
          <a:xfrm>
            <a:off x="12817624" y="645488"/>
            <a:ext cx="7616951" cy="5473713"/>
          </a:xfrm>
          <a:prstGeom prst="rect">
            <a:avLst/>
          </a:prstGeom>
          <a:noFill/>
          <a:extLst>
            <a:ext uri="{909E8E84-426E-40DD-AFC4-6F175D3DCCD1}">
              <a14:hiddenFill xmlns:a14="http://schemas.microsoft.com/office/drawing/2010/main">
                <a:solidFill>
                  <a:srgbClr val="FFFFFF"/>
                </a:solidFill>
              </a14:hiddenFill>
            </a:ext>
          </a:extLst>
        </p:spPr>
      </p:pic>
      <p:sp>
        <p:nvSpPr>
          <p:cNvPr id="1081" name="Rectangle 21">
            <a:extLst>
              <a:ext uri="{FF2B5EF4-FFF2-40B4-BE49-F238E27FC236}">
                <a16:creationId xmlns:a16="http://schemas.microsoft.com/office/drawing/2014/main" id="{BA19D226-A91D-4A1E-20EB-9E3C9357772D}"/>
              </a:ext>
            </a:extLst>
          </p:cNvPr>
          <p:cNvSpPr/>
          <p:nvPr/>
        </p:nvSpPr>
        <p:spPr>
          <a:xfrm>
            <a:off x="2091128" y="271468"/>
            <a:ext cx="1260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LSTM Layer</a:t>
            </a:r>
          </a:p>
        </p:txBody>
      </p:sp>
      <p:sp>
        <p:nvSpPr>
          <p:cNvPr id="4" name="Rectangle 21">
            <a:extLst>
              <a:ext uri="{FF2B5EF4-FFF2-40B4-BE49-F238E27FC236}">
                <a16:creationId xmlns:a16="http://schemas.microsoft.com/office/drawing/2014/main" id="{125F3C3B-F995-6B3B-EA39-7CF1673FC8B1}"/>
              </a:ext>
            </a:extLst>
          </p:cNvPr>
          <p:cNvSpPr/>
          <p:nvPr/>
        </p:nvSpPr>
        <p:spPr>
          <a:xfrm>
            <a:off x="3376336" y="271468"/>
            <a:ext cx="1115976"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lu Layer</a:t>
            </a:r>
          </a:p>
        </p:txBody>
      </p:sp>
      <p:pic>
        <p:nvPicPr>
          <p:cNvPr id="14" name="Grafik 13">
            <a:extLst>
              <a:ext uri="{FF2B5EF4-FFF2-40B4-BE49-F238E27FC236}">
                <a16:creationId xmlns:a16="http://schemas.microsoft.com/office/drawing/2014/main" id="{A003BC8D-54AE-D1E2-E6A0-F3FF19E34ECD}"/>
              </a:ext>
            </a:extLst>
          </p:cNvPr>
          <p:cNvPicPr>
            <a:picLocks noChangeAspect="1"/>
          </p:cNvPicPr>
          <p:nvPr/>
        </p:nvPicPr>
        <p:blipFill>
          <a:blip r:embed="rId3"/>
          <a:stretch>
            <a:fillRect/>
          </a:stretch>
        </p:blipFill>
        <p:spPr>
          <a:xfrm>
            <a:off x="-185754" y="7198868"/>
            <a:ext cx="12192000" cy="4815112"/>
          </a:xfrm>
          <a:prstGeom prst="rect">
            <a:avLst/>
          </a:prstGeom>
        </p:spPr>
      </p:pic>
      <p:cxnSp>
        <p:nvCxnSpPr>
          <p:cNvPr id="16" name="Gerade Verbindung mit Pfeil 15">
            <a:extLst>
              <a:ext uri="{FF2B5EF4-FFF2-40B4-BE49-F238E27FC236}">
                <a16:creationId xmlns:a16="http://schemas.microsoft.com/office/drawing/2014/main" id="{FB1B1C2D-3C78-2293-7DFC-09F09A1EE702}"/>
              </a:ext>
            </a:extLst>
          </p:cNvPr>
          <p:cNvCxnSpPr>
            <a:cxnSpLocks/>
            <a:stCxn id="1075" idx="0"/>
            <a:endCxn id="1031" idx="1"/>
          </p:cNvCxnSpPr>
          <p:nvPr/>
        </p:nvCxnSpPr>
        <p:spPr>
          <a:xfrm>
            <a:off x="3261128" y="1057912"/>
            <a:ext cx="264870" cy="30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0"/>
            <a:endCxn id="1035" idx="1"/>
          </p:cNvCxnSpPr>
          <p:nvPr/>
        </p:nvCxnSpPr>
        <p:spPr>
          <a:xfrm>
            <a:off x="3261128" y="1529051"/>
            <a:ext cx="264870" cy="1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0"/>
            <a:endCxn id="1036" idx="1"/>
          </p:cNvCxnSpPr>
          <p:nvPr/>
        </p:nvCxnSpPr>
        <p:spPr>
          <a:xfrm>
            <a:off x="3261128" y="2959608"/>
            <a:ext cx="26487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85" name="Rectangle 21">
            <a:extLst>
              <a:ext uri="{FF2B5EF4-FFF2-40B4-BE49-F238E27FC236}">
                <a16:creationId xmlns:a16="http://schemas.microsoft.com/office/drawing/2014/main" id="{3ED859A5-DDBA-CD6F-C635-1B286335A2BF}"/>
              </a:ext>
            </a:extLst>
          </p:cNvPr>
          <p:cNvSpPr/>
          <p:nvPr/>
        </p:nvSpPr>
        <p:spPr>
          <a:xfrm>
            <a:off x="579733" y="271467"/>
            <a:ext cx="1485021" cy="47043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equence input layer</a:t>
            </a:r>
          </a:p>
        </p:txBody>
      </p:sp>
      <p:grpSp>
        <p:nvGrpSpPr>
          <p:cNvPr id="57" name="Gruppieren 56">
            <a:extLst>
              <a:ext uri="{FF2B5EF4-FFF2-40B4-BE49-F238E27FC236}">
                <a16:creationId xmlns:a16="http://schemas.microsoft.com/office/drawing/2014/main" id="{2E083C03-8D4E-495A-776A-8DB8C0837317}"/>
              </a:ext>
            </a:extLst>
          </p:cNvPr>
          <p:cNvGrpSpPr/>
          <p:nvPr/>
        </p:nvGrpSpPr>
        <p:grpSpPr>
          <a:xfrm>
            <a:off x="579732" y="781322"/>
            <a:ext cx="1482055" cy="1747221"/>
            <a:chOff x="1616346" y="2373153"/>
            <a:chExt cx="1482055" cy="1747221"/>
          </a:xfrm>
        </p:grpSpPr>
        <p:sp>
          <p:nvSpPr>
            <p:cNvPr id="194" name="Rechteck 193">
              <a:extLst>
                <a:ext uri="{FF2B5EF4-FFF2-40B4-BE49-F238E27FC236}">
                  <a16:creationId xmlns:a16="http://schemas.microsoft.com/office/drawing/2014/main" id="{B09BD22A-4DC6-BD46-7691-FDC0E221ECA8}"/>
                </a:ext>
              </a:extLst>
            </p:cNvPr>
            <p:cNvSpPr/>
            <p:nvPr/>
          </p:nvSpPr>
          <p:spPr>
            <a:xfrm>
              <a:off x="1616346" y="2373153"/>
              <a:ext cx="1482055" cy="1747221"/>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r>
                <a:rPr lang="en-GB" sz="1100" dirty="0">
                  <a:latin typeface="Daimler CS" pitchFamily="2" charset="0"/>
                </a:rPr>
                <a:t>Statevector with 5 Channels per timestep</a:t>
              </a:r>
            </a:p>
          </p:txBody>
        </p:sp>
        <p:sp>
          <p:nvSpPr>
            <p:cNvPr id="36" name="Rectangle 15">
              <a:extLst>
                <a:ext uri="{FF2B5EF4-FFF2-40B4-BE49-F238E27FC236}">
                  <a16:creationId xmlns:a16="http://schemas.microsoft.com/office/drawing/2014/main" id="{C9DB3EAE-C901-B25E-7D63-AC6287604659}"/>
                </a:ext>
              </a:extLst>
            </p:cNvPr>
            <p:cNvSpPr/>
            <p:nvPr/>
          </p:nvSpPr>
          <p:spPr>
            <a:xfrm>
              <a:off x="1842219" y="2877854"/>
              <a:ext cx="1033276" cy="1080000"/>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a:p>
              <a:pPr algn="ctr"/>
              <a:r>
                <a:rPr lang="en-GB" sz="1100" dirty="0">
                  <a:latin typeface="Daimler CS" pitchFamily="2" charset="0"/>
                </a:rPr>
                <a:t>object_length</a:t>
              </a:r>
            </a:p>
            <a:p>
              <a:pPr algn="ctr"/>
              <a:r>
                <a:rPr lang="en-GB" sz="1100" dirty="0">
                  <a:latin typeface="Daimler CS" pitchFamily="2" charset="0"/>
                </a:rPr>
                <a:t>object_wide</a:t>
              </a:r>
            </a:p>
          </p:txBody>
        </p:sp>
      </p:grpSp>
      <p:cxnSp>
        <p:nvCxnSpPr>
          <p:cNvPr id="37" name="Gerade Verbindung mit Pfeil 36">
            <a:extLst>
              <a:ext uri="{FF2B5EF4-FFF2-40B4-BE49-F238E27FC236}">
                <a16:creationId xmlns:a16="http://schemas.microsoft.com/office/drawing/2014/main" id="{0D0C8E31-2C6C-3F82-9D82-059E2808D515}"/>
              </a:ext>
            </a:extLst>
          </p:cNvPr>
          <p:cNvCxnSpPr>
            <a:cxnSpLocks/>
            <a:stCxn id="36" idx="3"/>
            <a:endCxn id="1075" idx="2"/>
          </p:cNvCxnSpPr>
          <p:nvPr/>
        </p:nvCxnSpPr>
        <p:spPr>
          <a:xfrm flipV="1">
            <a:off x="1838881" y="1057912"/>
            <a:ext cx="342247" cy="76811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3"/>
            <a:endCxn id="1076" idx="2"/>
          </p:cNvCxnSpPr>
          <p:nvPr/>
        </p:nvCxnSpPr>
        <p:spPr>
          <a:xfrm flipV="1">
            <a:off x="1838881" y="1529051"/>
            <a:ext cx="342247" cy="2969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3"/>
            <a:endCxn id="1077" idx="2"/>
          </p:cNvCxnSpPr>
          <p:nvPr/>
        </p:nvCxnSpPr>
        <p:spPr>
          <a:xfrm>
            <a:off x="1838881" y="1826023"/>
            <a:ext cx="342247" cy="11335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9" name="Rectangle 21">
            <a:extLst>
              <a:ext uri="{FF2B5EF4-FFF2-40B4-BE49-F238E27FC236}">
                <a16:creationId xmlns:a16="http://schemas.microsoft.com/office/drawing/2014/main" id="{55DE0FA5-07B5-A66E-DD80-87E60F8784F9}"/>
              </a:ext>
            </a:extLst>
          </p:cNvPr>
          <p:cNvSpPr/>
          <p:nvPr/>
        </p:nvSpPr>
        <p:spPr>
          <a:xfrm>
            <a:off x="4516720"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1043" name="Gruppieren 1042">
            <a:extLst>
              <a:ext uri="{FF2B5EF4-FFF2-40B4-BE49-F238E27FC236}">
                <a16:creationId xmlns:a16="http://schemas.microsoft.com/office/drawing/2014/main" id="{FBFE2DED-8F59-AE62-2101-85F25030056A}"/>
              </a:ext>
            </a:extLst>
          </p:cNvPr>
          <p:cNvGrpSpPr/>
          <p:nvPr/>
        </p:nvGrpSpPr>
        <p:grpSpPr>
          <a:xfrm>
            <a:off x="2091128" y="781322"/>
            <a:ext cx="1260000" cy="2446410"/>
            <a:chOff x="3190130" y="1801740"/>
            <a:chExt cx="1260000" cy="2446410"/>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190130" y="1801740"/>
              <a:ext cx="1260000" cy="2446410"/>
              <a:chOff x="3968641" y="2599945"/>
              <a:chExt cx="1260000" cy="2446410"/>
            </a:xfrm>
          </p:grpSpPr>
          <p:sp>
            <p:nvSpPr>
              <p:cNvPr id="1075" name="Rectangle 15">
                <a:extLst>
                  <a:ext uri="{FF2B5EF4-FFF2-40B4-BE49-F238E27FC236}">
                    <a16:creationId xmlns:a16="http://schemas.microsoft.com/office/drawing/2014/main" id="{7649AA3E-A7FB-8EA1-6853-23578C46FC2A}"/>
                  </a:ext>
                </a:extLst>
              </p:cNvPr>
              <p:cNvSpPr/>
              <p:nvPr/>
            </p:nvSpPr>
            <p:spPr>
              <a:xfrm rot="5400000">
                <a:off x="4418641" y="2336535"/>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1</a:t>
                </a:r>
              </a:p>
            </p:txBody>
          </p:sp>
          <p:sp>
            <p:nvSpPr>
              <p:cNvPr id="1076" name="Rectangle 15">
                <a:extLst>
                  <a:ext uri="{FF2B5EF4-FFF2-40B4-BE49-F238E27FC236}">
                    <a16:creationId xmlns:a16="http://schemas.microsoft.com/office/drawing/2014/main" id="{25A782CD-8AF9-E68B-C1E9-94D8EC41C279}"/>
                  </a:ext>
                </a:extLst>
              </p:cNvPr>
              <p:cNvSpPr/>
              <p:nvPr/>
            </p:nvSpPr>
            <p:spPr>
              <a:xfrm rot="5400000">
                <a:off x="4418641" y="2807674"/>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sp>
            <p:nvSpPr>
              <p:cNvPr id="1077" name="Rectangle 15">
                <a:extLst>
                  <a:ext uri="{FF2B5EF4-FFF2-40B4-BE49-F238E27FC236}">
                    <a16:creationId xmlns:a16="http://schemas.microsoft.com/office/drawing/2014/main" id="{B1745462-A5D4-9513-76E7-4C7FCF306080}"/>
                  </a:ext>
                </a:extLst>
              </p:cNvPr>
              <p:cNvSpPr/>
              <p:nvPr/>
            </p:nvSpPr>
            <p:spPr>
              <a:xfrm rot="5400000">
                <a:off x="4418641" y="4238231"/>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474311"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79" name="Rechteck 1078">
                <a:extLst>
                  <a:ext uri="{FF2B5EF4-FFF2-40B4-BE49-F238E27FC236}">
                    <a16:creationId xmlns:a16="http://schemas.microsoft.com/office/drawing/2014/main" id="{DB4D0C88-75DD-7D82-B864-3C7424BC07F0}"/>
                  </a:ext>
                </a:extLst>
              </p:cNvPr>
              <p:cNvSpPr/>
              <p:nvPr/>
            </p:nvSpPr>
            <p:spPr>
              <a:xfrm>
                <a:off x="3968641" y="2599945"/>
                <a:ext cx="1260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42" name="Rectangle 15">
              <a:extLst>
                <a:ext uri="{FF2B5EF4-FFF2-40B4-BE49-F238E27FC236}">
                  <a16:creationId xmlns:a16="http://schemas.microsoft.com/office/drawing/2014/main" id="{83919D64-2023-1B02-0AFB-658536E8122C}"/>
                </a:ext>
              </a:extLst>
            </p:cNvPr>
            <p:cNvSpPr/>
            <p:nvPr/>
          </p:nvSpPr>
          <p:spPr>
            <a:xfrm rot="5400000">
              <a:off x="3637174" y="2483819"/>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grpSp>
      <p:grpSp>
        <p:nvGrpSpPr>
          <p:cNvPr id="1046" name="Gruppieren 1045">
            <a:extLst>
              <a:ext uri="{FF2B5EF4-FFF2-40B4-BE49-F238E27FC236}">
                <a16:creationId xmlns:a16="http://schemas.microsoft.com/office/drawing/2014/main" id="{19C7658D-5E80-966C-6699-1217160A3F70}"/>
              </a:ext>
            </a:extLst>
          </p:cNvPr>
          <p:cNvGrpSpPr/>
          <p:nvPr/>
        </p:nvGrpSpPr>
        <p:grpSpPr>
          <a:xfrm>
            <a:off x="3386898" y="781322"/>
            <a:ext cx="1105414" cy="2446410"/>
            <a:chOff x="4631950" y="1801740"/>
            <a:chExt cx="1105414" cy="2446410"/>
          </a:xfrm>
        </p:grpSpPr>
        <p:grpSp>
          <p:nvGrpSpPr>
            <p:cNvPr id="1037" name="Gruppieren 1036">
              <a:extLst>
                <a:ext uri="{FF2B5EF4-FFF2-40B4-BE49-F238E27FC236}">
                  <a16:creationId xmlns:a16="http://schemas.microsoft.com/office/drawing/2014/main" id="{771A7A2E-FABC-BDDD-4AF9-B71ED53B13EE}"/>
                </a:ext>
              </a:extLst>
            </p:cNvPr>
            <p:cNvGrpSpPr/>
            <p:nvPr/>
          </p:nvGrpSpPr>
          <p:grpSpPr>
            <a:xfrm>
              <a:off x="4631950" y="1801740"/>
              <a:ext cx="1105414" cy="2446410"/>
              <a:chOff x="4631950" y="1801740"/>
              <a:chExt cx="1105414" cy="2446410"/>
            </a:xfrm>
          </p:grpSpPr>
          <p:grpSp>
            <p:nvGrpSpPr>
              <p:cNvPr id="1032" name="Gruppieren 1031">
                <a:extLst>
                  <a:ext uri="{FF2B5EF4-FFF2-40B4-BE49-F238E27FC236}">
                    <a16:creationId xmlns:a16="http://schemas.microsoft.com/office/drawing/2014/main" id="{904C1F79-8314-CC28-2094-BB6D85CF5883}"/>
                  </a:ext>
                </a:extLst>
              </p:cNvPr>
              <p:cNvGrpSpPr/>
              <p:nvPr/>
            </p:nvGrpSpPr>
            <p:grpSpPr>
              <a:xfrm>
                <a:off x="4631950" y="1801740"/>
                <a:ext cx="1105414" cy="2446410"/>
                <a:chOff x="4651926" y="1801740"/>
                <a:chExt cx="1105414" cy="2446410"/>
              </a:xfrm>
            </p:grpSpPr>
            <p:grpSp>
              <p:nvGrpSpPr>
                <p:cNvPr id="3" name="Gruppieren 2">
                  <a:extLst>
                    <a:ext uri="{FF2B5EF4-FFF2-40B4-BE49-F238E27FC236}">
                      <a16:creationId xmlns:a16="http://schemas.microsoft.com/office/drawing/2014/main" id="{EC71ECAF-66C0-A72C-8131-E0BC9125A30F}"/>
                    </a:ext>
                  </a:extLst>
                </p:cNvPr>
                <p:cNvGrpSpPr/>
                <p:nvPr/>
              </p:nvGrpSpPr>
              <p:grpSpPr>
                <a:xfrm>
                  <a:off x="4651926" y="1801740"/>
                  <a:ext cx="1105414" cy="2446410"/>
                  <a:chOff x="4323029" y="2599945"/>
                  <a:chExt cx="1105414" cy="2446410"/>
                </a:xfrm>
              </p:grpSpPr>
              <p:sp>
                <p:nvSpPr>
                  <p:cNvPr id="8" name="Rectangle 15">
                    <a:extLst>
                      <a:ext uri="{FF2B5EF4-FFF2-40B4-BE49-F238E27FC236}">
                        <a16:creationId xmlns:a16="http://schemas.microsoft.com/office/drawing/2014/main" id="{1EE033A2-1C75-3F2C-1C25-A13AF2FC1D28}"/>
                      </a:ext>
                    </a:extLst>
                  </p:cNvPr>
                  <p:cNvSpPr/>
                  <p:nvPr/>
                </p:nvSpPr>
                <p:spPr>
                  <a:xfrm rot="10800000">
                    <a:off x="4537811" y="39819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9" name="Rechteck 8">
                    <a:extLst>
                      <a:ext uri="{FF2B5EF4-FFF2-40B4-BE49-F238E27FC236}">
                        <a16:creationId xmlns:a16="http://schemas.microsoft.com/office/drawing/2014/main" id="{FE57A658-9E7C-9C81-D828-C407B4062280}"/>
                      </a:ext>
                    </a:extLst>
                  </p:cNvPr>
                  <p:cNvSpPr/>
                  <p:nvPr/>
                </p:nvSpPr>
                <p:spPr>
                  <a:xfrm>
                    <a:off x="4323029" y="2599945"/>
                    <a:ext cx="1105414"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pic>
              <p:nvPicPr>
                <p:cNvPr id="1031" name="Grafik 1030">
                  <a:extLst>
                    <a:ext uri="{FF2B5EF4-FFF2-40B4-BE49-F238E27FC236}">
                      <a16:creationId xmlns:a16="http://schemas.microsoft.com/office/drawing/2014/main" id="{80688563-483F-7FB7-1D24-76678ED48D1D}"/>
                    </a:ext>
                  </a:extLst>
                </p:cNvPr>
                <p:cNvPicPr>
                  <a:picLocks noChangeAspect="1"/>
                </p:cNvPicPr>
                <p:nvPr/>
              </p:nvPicPr>
              <p:blipFill rotWithShape="1">
                <a:blip r:embed="rId4"/>
                <a:srcRect r="764"/>
                <a:stretch/>
              </p:blipFill>
              <p:spPr>
                <a:xfrm>
                  <a:off x="4791026" y="1899744"/>
                  <a:ext cx="897602" cy="363177"/>
                </a:xfrm>
                <a:prstGeom prst="rect">
                  <a:avLst/>
                </a:prstGeom>
                <a:ln>
                  <a:solidFill>
                    <a:schemeClr val="accent1"/>
                  </a:solidFill>
                </a:ln>
              </p:spPr>
            </p:pic>
          </p:grpSp>
          <p:pic>
            <p:nvPicPr>
              <p:cNvPr id="1035" name="Grafik 1034">
                <a:extLst>
                  <a:ext uri="{FF2B5EF4-FFF2-40B4-BE49-F238E27FC236}">
                    <a16:creationId xmlns:a16="http://schemas.microsoft.com/office/drawing/2014/main" id="{4F2B7CFF-93C8-3BBA-5384-9E2D652D7E65}"/>
                  </a:ext>
                </a:extLst>
              </p:cNvPr>
              <p:cNvPicPr>
                <a:picLocks noChangeAspect="1"/>
              </p:cNvPicPr>
              <p:nvPr/>
            </p:nvPicPr>
            <p:blipFill rotWithShape="1">
              <a:blip r:embed="rId4"/>
              <a:srcRect r="764"/>
              <a:stretch/>
            </p:blipFill>
            <p:spPr>
              <a:xfrm>
                <a:off x="4771050" y="2369145"/>
                <a:ext cx="897602" cy="363177"/>
              </a:xfrm>
              <a:prstGeom prst="rect">
                <a:avLst/>
              </a:prstGeom>
              <a:ln>
                <a:solidFill>
                  <a:schemeClr val="accent1"/>
                </a:solidFill>
              </a:ln>
            </p:spPr>
          </p:pic>
          <p:pic>
            <p:nvPicPr>
              <p:cNvPr id="1036" name="Grafik 1035">
                <a:extLst>
                  <a:ext uri="{FF2B5EF4-FFF2-40B4-BE49-F238E27FC236}">
                    <a16:creationId xmlns:a16="http://schemas.microsoft.com/office/drawing/2014/main" id="{88C53500-5554-3426-9A76-B314B0A333A5}"/>
                  </a:ext>
                </a:extLst>
              </p:cNvPr>
              <p:cNvPicPr>
                <a:picLocks noChangeAspect="1"/>
              </p:cNvPicPr>
              <p:nvPr/>
            </p:nvPicPr>
            <p:blipFill rotWithShape="1">
              <a:blip r:embed="rId4"/>
              <a:srcRect r="764"/>
              <a:stretch/>
            </p:blipFill>
            <p:spPr>
              <a:xfrm>
                <a:off x="4771050" y="3800025"/>
                <a:ext cx="897602" cy="363177"/>
              </a:xfrm>
              <a:prstGeom prst="rect">
                <a:avLst/>
              </a:prstGeom>
              <a:ln>
                <a:solidFill>
                  <a:schemeClr val="accent1"/>
                </a:solidFill>
              </a:ln>
            </p:spPr>
          </p:pic>
        </p:grpSp>
        <p:pic>
          <p:nvPicPr>
            <p:cNvPr id="1045" name="Grafik 1044">
              <a:extLst>
                <a:ext uri="{FF2B5EF4-FFF2-40B4-BE49-F238E27FC236}">
                  <a16:creationId xmlns:a16="http://schemas.microsoft.com/office/drawing/2014/main" id="{D7C84C20-7C38-24AE-C9E3-A4248E131F3E}"/>
                </a:ext>
              </a:extLst>
            </p:cNvPr>
            <p:cNvPicPr>
              <a:picLocks noChangeAspect="1"/>
            </p:cNvPicPr>
            <p:nvPr/>
          </p:nvPicPr>
          <p:blipFill rotWithShape="1">
            <a:blip r:embed="rId4"/>
            <a:srcRect r="764"/>
            <a:stretch/>
          </p:blipFill>
          <p:spPr>
            <a:xfrm>
              <a:off x="4771050" y="2837973"/>
              <a:ext cx="897602" cy="363177"/>
            </a:xfrm>
            <a:prstGeom prst="rect">
              <a:avLst/>
            </a:prstGeom>
            <a:ln>
              <a:solidFill>
                <a:schemeClr val="accent1"/>
              </a:solidFill>
            </a:ln>
          </p:spPr>
        </p:pic>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0"/>
            <a:endCxn id="1045" idx="1"/>
          </p:cNvCxnSpPr>
          <p:nvPr/>
        </p:nvCxnSpPr>
        <p:spPr>
          <a:xfrm flipV="1">
            <a:off x="3258172" y="1999144"/>
            <a:ext cx="267826" cy="42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a:off x="4520840" y="781322"/>
            <a:ext cx="792000" cy="2446410"/>
            <a:chOff x="6814408" y="1801740"/>
            <a:chExt cx="792000" cy="244641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814408" y="1801740"/>
              <a:ext cx="792000" cy="2446410"/>
              <a:chOff x="4621388" y="1801740"/>
              <a:chExt cx="792000" cy="2446410"/>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621388" y="1801740"/>
                <a:ext cx="792000" cy="2446410"/>
                <a:chOff x="4292491" y="2599945"/>
                <a:chExt cx="792000" cy="2446410"/>
              </a:xfrm>
            </p:grpSpPr>
            <p:sp>
              <p:nvSpPr>
                <p:cNvPr id="1024" name="Rectangle 15">
                  <a:extLst>
                    <a:ext uri="{FF2B5EF4-FFF2-40B4-BE49-F238E27FC236}">
                      <a16:creationId xmlns:a16="http://schemas.microsoft.com/office/drawing/2014/main" id="{B75348A3-9DC5-7199-AAAF-D35B45BE8D4B}"/>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27" name="Rechteck 1026">
                  <a:extLst>
                    <a:ext uri="{FF2B5EF4-FFF2-40B4-BE49-F238E27FC236}">
                      <a16:creationId xmlns:a16="http://schemas.microsoft.com/office/drawing/2014/main" id="{EE0D3157-4EC7-148A-7430-CA652B6079AA}"/>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62" name="Rectangle 15">
                <a:extLst>
                  <a:ext uri="{FF2B5EF4-FFF2-40B4-BE49-F238E27FC236}">
                    <a16:creationId xmlns:a16="http://schemas.microsoft.com/office/drawing/2014/main" id="{149DB197-161B-CF03-AD15-802352D79779}"/>
                  </a:ext>
                </a:extLst>
              </p:cNvPr>
              <p:cNvSpPr/>
              <p:nvPr/>
            </p:nvSpPr>
            <p:spPr>
              <a:xfrm rot="5400000">
                <a:off x="4837388" y="2369145"/>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5400000">
                <a:off x="4837388" y="283956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5400000">
              <a:off x="7030408" y="3800026"/>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031" idx="3"/>
            <a:endCxn id="1024" idx="4"/>
          </p:cNvCxnSpPr>
          <p:nvPr/>
        </p:nvCxnSpPr>
        <p:spPr>
          <a:xfrm flipV="1">
            <a:off x="4423600" y="1057588"/>
            <a:ext cx="313240" cy="33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035" idx="3"/>
            <a:endCxn id="62" idx="4"/>
          </p:cNvCxnSpPr>
          <p:nvPr/>
        </p:nvCxnSpPr>
        <p:spPr>
          <a:xfrm flipV="1">
            <a:off x="4423600" y="1528727"/>
            <a:ext cx="313240" cy="158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036" idx="3"/>
            <a:endCxn id="1050" idx="4"/>
          </p:cNvCxnSpPr>
          <p:nvPr/>
        </p:nvCxnSpPr>
        <p:spPr>
          <a:xfrm flipV="1">
            <a:off x="4423600" y="2959608"/>
            <a:ext cx="31324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045" idx="3"/>
            <a:endCxn id="63" idx="4"/>
          </p:cNvCxnSpPr>
          <p:nvPr/>
        </p:nvCxnSpPr>
        <p:spPr>
          <a:xfrm flipV="1">
            <a:off x="4423600" y="1999143"/>
            <a:ext cx="313240"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a:off x="5334246" y="781322"/>
            <a:ext cx="792000" cy="2446410"/>
            <a:chOff x="6814408" y="1801740"/>
            <a:chExt cx="792000" cy="244641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814408" y="1801740"/>
              <a:ext cx="792000" cy="2446410"/>
              <a:chOff x="4621388" y="1801740"/>
              <a:chExt cx="792000" cy="2446410"/>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621388" y="1801740"/>
                <a:ext cx="792000" cy="2446410"/>
                <a:chOff x="4292491" y="2599945"/>
                <a:chExt cx="792000" cy="2446410"/>
              </a:xfrm>
            </p:grpSpPr>
            <p:sp>
              <p:nvSpPr>
                <p:cNvPr id="196" name="Rectangle 15">
                  <a:extLst>
                    <a:ext uri="{FF2B5EF4-FFF2-40B4-BE49-F238E27FC236}">
                      <a16:creationId xmlns:a16="http://schemas.microsoft.com/office/drawing/2014/main" id="{ED694869-A138-D32F-8F84-54865CE0D3E2}"/>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98" name="Rechteck 197">
                  <a:extLst>
                    <a:ext uri="{FF2B5EF4-FFF2-40B4-BE49-F238E27FC236}">
                      <a16:creationId xmlns:a16="http://schemas.microsoft.com/office/drawing/2014/main" id="{48BE9B77-858D-7BAD-9A4B-F3711E0A1765}"/>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74" name="Rectangle 15">
                <a:extLst>
                  <a:ext uri="{FF2B5EF4-FFF2-40B4-BE49-F238E27FC236}">
                    <a16:creationId xmlns:a16="http://schemas.microsoft.com/office/drawing/2014/main" id="{3CF92702-C252-8FE4-849B-0203BAEDE98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5400000">
              <a:off x="7030408" y="380002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
        <p:nvSpPr>
          <p:cNvPr id="199" name="Rectangle 21">
            <a:extLst>
              <a:ext uri="{FF2B5EF4-FFF2-40B4-BE49-F238E27FC236}">
                <a16:creationId xmlns:a16="http://schemas.microsoft.com/office/drawing/2014/main" id="{D0DED314-1007-E93E-D0E2-EA80EE6A1D0D}"/>
              </a:ext>
            </a:extLst>
          </p:cNvPr>
          <p:cNvSpPr/>
          <p:nvPr/>
        </p:nvSpPr>
        <p:spPr>
          <a:xfrm>
            <a:off x="5334246"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0"/>
            <a:endCxn id="196" idx="4"/>
          </p:cNvCxnSpPr>
          <p:nvPr/>
        </p:nvCxnSpPr>
        <p:spPr>
          <a:xfrm>
            <a:off x="5096840"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0"/>
            <a:endCxn id="1074" idx="4"/>
          </p:cNvCxnSpPr>
          <p:nvPr/>
        </p:nvCxnSpPr>
        <p:spPr>
          <a:xfrm>
            <a:off x="5096840"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0"/>
            <a:endCxn id="195" idx="4"/>
          </p:cNvCxnSpPr>
          <p:nvPr/>
        </p:nvCxnSpPr>
        <p:spPr>
          <a:xfrm>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0"/>
            <a:endCxn id="1072" idx="4"/>
          </p:cNvCxnSpPr>
          <p:nvPr/>
        </p:nvCxnSpPr>
        <p:spPr>
          <a:xfrm>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0"/>
            <a:endCxn id="196" idx="4"/>
          </p:cNvCxnSpPr>
          <p:nvPr/>
        </p:nvCxnSpPr>
        <p:spPr>
          <a:xfrm flipV="1">
            <a:off x="5096840" y="1057588"/>
            <a:ext cx="453406" cy="47113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0"/>
            <a:endCxn id="1074" idx="4"/>
          </p:cNvCxnSpPr>
          <p:nvPr/>
        </p:nvCxnSpPr>
        <p:spPr>
          <a:xfrm>
            <a:off x="5096840" y="1528727"/>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0"/>
            <a:endCxn id="195" idx="4"/>
          </p:cNvCxnSpPr>
          <p:nvPr/>
        </p:nvCxnSpPr>
        <p:spPr>
          <a:xfrm>
            <a:off x="5096840"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0"/>
            <a:endCxn id="1072" idx="4"/>
          </p:cNvCxnSpPr>
          <p:nvPr/>
        </p:nvCxnSpPr>
        <p:spPr>
          <a:xfrm>
            <a:off x="5096840" y="1528727"/>
            <a:ext cx="453406" cy="1430881"/>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0"/>
            <a:endCxn id="196" idx="4"/>
          </p:cNvCxnSpPr>
          <p:nvPr/>
        </p:nvCxnSpPr>
        <p:spPr>
          <a:xfrm flipV="1">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0"/>
            <a:endCxn id="1074" idx="4"/>
          </p:cNvCxnSpPr>
          <p:nvPr/>
        </p:nvCxnSpPr>
        <p:spPr>
          <a:xfrm flipV="1">
            <a:off x="5096840"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0"/>
            <a:endCxn id="195" idx="4"/>
          </p:cNvCxnSpPr>
          <p:nvPr/>
        </p:nvCxnSpPr>
        <p:spPr>
          <a:xfrm>
            <a:off x="5096840" y="1999143"/>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0"/>
            <a:endCxn id="1072" idx="4"/>
          </p:cNvCxnSpPr>
          <p:nvPr/>
        </p:nvCxnSpPr>
        <p:spPr>
          <a:xfrm>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0"/>
            <a:endCxn id="196" idx="4"/>
          </p:cNvCxnSpPr>
          <p:nvPr/>
        </p:nvCxnSpPr>
        <p:spPr>
          <a:xfrm flipV="1">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0"/>
            <a:endCxn id="1074" idx="4"/>
          </p:cNvCxnSpPr>
          <p:nvPr/>
        </p:nvCxnSpPr>
        <p:spPr>
          <a:xfrm flipV="1">
            <a:off x="5096840" y="1528727"/>
            <a:ext cx="453406"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0"/>
            <a:endCxn id="195" idx="4"/>
          </p:cNvCxnSpPr>
          <p:nvPr/>
        </p:nvCxnSpPr>
        <p:spPr>
          <a:xfrm flipV="1">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0"/>
            <a:endCxn id="1072" idx="4"/>
          </p:cNvCxnSpPr>
          <p:nvPr/>
        </p:nvCxnSpPr>
        <p:spPr>
          <a:xfrm>
            <a:off x="5096840" y="295960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0" name="Rectangle 21">
            <a:extLst>
              <a:ext uri="{FF2B5EF4-FFF2-40B4-BE49-F238E27FC236}">
                <a16:creationId xmlns:a16="http://schemas.microsoft.com/office/drawing/2014/main" id="{149EE62F-D5BD-1498-73F0-17F542554F74}"/>
              </a:ext>
            </a:extLst>
          </p:cNvPr>
          <p:cNvSpPr/>
          <p:nvPr/>
        </p:nvSpPr>
        <p:spPr>
          <a:xfrm>
            <a:off x="6970805"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251" name="Gruppieren 250">
            <a:extLst>
              <a:ext uri="{FF2B5EF4-FFF2-40B4-BE49-F238E27FC236}">
                <a16:creationId xmlns:a16="http://schemas.microsoft.com/office/drawing/2014/main" id="{9D474E6A-ECAF-50AC-52FA-CCB82E37DE44}"/>
              </a:ext>
            </a:extLst>
          </p:cNvPr>
          <p:cNvGrpSpPr/>
          <p:nvPr/>
        </p:nvGrpSpPr>
        <p:grpSpPr>
          <a:xfrm>
            <a:off x="6974925" y="781322"/>
            <a:ext cx="792000" cy="2252100"/>
            <a:chOff x="6814408" y="1801740"/>
            <a:chExt cx="792000" cy="2252100"/>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814408" y="1801740"/>
              <a:ext cx="792000" cy="2252100"/>
              <a:chOff x="4621388" y="1801740"/>
              <a:chExt cx="792000" cy="2252100"/>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621388" y="1801740"/>
                <a:ext cx="792000" cy="2252100"/>
                <a:chOff x="4292491" y="2599945"/>
                <a:chExt cx="792000" cy="2252100"/>
              </a:xfrm>
            </p:grpSpPr>
            <p:sp>
              <p:nvSpPr>
                <p:cNvPr id="1089" name="Rectangle 15">
                  <a:extLst>
                    <a:ext uri="{FF2B5EF4-FFF2-40B4-BE49-F238E27FC236}">
                      <a16:creationId xmlns:a16="http://schemas.microsoft.com/office/drawing/2014/main" id="{EAEA07BE-C163-B8E9-DDC2-845CABC51FE2}"/>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91" name="Rechteck 1090">
                  <a:extLst>
                    <a:ext uri="{FF2B5EF4-FFF2-40B4-BE49-F238E27FC236}">
                      <a16:creationId xmlns:a16="http://schemas.microsoft.com/office/drawing/2014/main" id="{B8779767-437E-2EB5-A7CD-42F63100E7C1}"/>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255" name="Rectangle 15">
                <a:extLst>
                  <a:ext uri="{FF2B5EF4-FFF2-40B4-BE49-F238E27FC236}">
                    <a16:creationId xmlns:a16="http://schemas.microsoft.com/office/drawing/2014/main" id="{7F03310E-7865-F5D4-987E-156EA527A098}"/>
                  </a:ext>
                </a:extLst>
              </p:cNvPr>
              <p:cNvSpPr/>
              <p:nvPr/>
            </p:nvSpPr>
            <p:spPr>
              <a:xfrm rot="5400000">
                <a:off x="4837388" y="2369145"/>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5400000">
                <a:off x="4837388" y="2839561"/>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5400000">
              <a:off x="7030408" y="3592050"/>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0"/>
            <a:endCxn id="1089" idx="4"/>
          </p:cNvCxnSpPr>
          <p:nvPr/>
        </p:nvCxnSpPr>
        <p:spPr>
          <a:xfrm>
            <a:off x="6726688" y="1057588"/>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0"/>
            <a:endCxn id="255" idx="4"/>
          </p:cNvCxnSpPr>
          <p:nvPr/>
        </p:nvCxnSpPr>
        <p:spPr>
          <a:xfrm>
            <a:off x="6726688" y="1528727"/>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0"/>
            <a:endCxn id="253" idx="4"/>
          </p:cNvCxnSpPr>
          <p:nvPr/>
        </p:nvCxnSpPr>
        <p:spPr>
          <a:xfrm>
            <a:off x="6726688" y="2746248"/>
            <a:ext cx="464237" cy="53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0"/>
            <a:endCxn id="1088" idx="4"/>
          </p:cNvCxnSpPr>
          <p:nvPr/>
        </p:nvCxnSpPr>
        <p:spPr>
          <a:xfrm>
            <a:off x="6726688" y="1999143"/>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a:off x="7788331" y="781322"/>
            <a:ext cx="792000" cy="1502414"/>
            <a:chOff x="4621388" y="1801740"/>
            <a:chExt cx="792000" cy="1502414"/>
          </a:xfrm>
        </p:grpSpPr>
        <p:grpSp>
          <p:nvGrpSpPr>
            <p:cNvPr id="1099" name="Gruppieren 1098">
              <a:extLst>
                <a:ext uri="{FF2B5EF4-FFF2-40B4-BE49-F238E27FC236}">
                  <a16:creationId xmlns:a16="http://schemas.microsoft.com/office/drawing/2014/main" id="{F826C4C0-D3ED-9034-50F2-1996D968C4D1}"/>
                </a:ext>
              </a:extLst>
            </p:cNvPr>
            <p:cNvGrpSpPr/>
            <p:nvPr/>
          </p:nvGrpSpPr>
          <p:grpSpPr>
            <a:xfrm>
              <a:off x="4621388" y="1801740"/>
              <a:ext cx="792000" cy="1502414"/>
              <a:chOff x="4292491" y="2599945"/>
              <a:chExt cx="792000" cy="1502414"/>
            </a:xfrm>
          </p:grpSpPr>
          <p:sp>
            <p:nvSpPr>
              <p:cNvPr id="1102" name="Rectangle 15">
                <a:extLst>
                  <a:ext uri="{FF2B5EF4-FFF2-40B4-BE49-F238E27FC236}">
                    <a16:creationId xmlns:a16="http://schemas.microsoft.com/office/drawing/2014/main" id="{B6B3E34C-47CC-AC42-54DE-6D8F79DBD584}"/>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4" name="Rechteck 1103">
                <a:extLst>
                  <a:ext uri="{FF2B5EF4-FFF2-40B4-BE49-F238E27FC236}">
                    <a16:creationId xmlns:a16="http://schemas.microsoft.com/office/drawing/2014/main" id="{77382E7D-85FB-7D23-CB5E-65F4485A29D1}"/>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00" name="Rectangle 15">
              <a:extLst>
                <a:ext uri="{FF2B5EF4-FFF2-40B4-BE49-F238E27FC236}">
                  <a16:creationId xmlns:a16="http://schemas.microsoft.com/office/drawing/2014/main" id="{20F1D4B9-CBED-E6AA-2585-3FFA8C25B44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05" name="Rectangle 21">
            <a:extLst>
              <a:ext uri="{FF2B5EF4-FFF2-40B4-BE49-F238E27FC236}">
                <a16:creationId xmlns:a16="http://schemas.microsoft.com/office/drawing/2014/main" id="{3A0F7248-CA92-B3ED-569D-6D2AB277DABA}"/>
              </a:ext>
            </a:extLst>
          </p:cNvPr>
          <p:cNvSpPr/>
          <p:nvPr/>
        </p:nvSpPr>
        <p:spPr>
          <a:xfrm>
            <a:off x="7788331"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0"/>
            <a:endCxn id="1102" idx="4"/>
          </p:cNvCxnSpPr>
          <p:nvPr/>
        </p:nvCxnSpPr>
        <p:spPr>
          <a:xfrm>
            <a:off x="7550925"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0"/>
            <a:endCxn id="1100" idx="4"/>
          </p:cNvCxnSpPr>
          <p:nvPr/>
        </p:nvCxnSpPr>
        <p:spPr>
          <a:xfrm>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0"/>
            <a:endCxn id="1101" idx="4"/>
          </p:cNvCxnSpPr>
          <p:nvPr/>
        </p:nvCxnSpPr>
        <p:spPr>
          <a:xfrm>
            <a:off x="7550925"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0"/>
            <a:endCxn id="1102" idx="4"/>
          </p:cNvCxnSpPr>
          <p:nvPr/>
        </p:nvCxnSpPr>
        <p:spPr>
          <a:xfrm flipV="1">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0"/>
            <a:endCxn id="1100" idx="4"/>
          </p:cNvCxnSpPr>
          <p:nvPr/>
        </p:nvCxnSpPr>
        <p:spPr>
          <a:xfrm>
            <a:off x="7550925" y="1528727"/>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0"/>
            <a:endCxn id="1101" idx="4"/>
          </p:cNvCxnSpPr>
          <p:nvPr/>
        </p:nvCxnSpPr>
        <p:spPr>
          <a:xfrm>
            <a:off x="7550925"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0"/>
            <a:endCxn id="1102" idx="4"/>
          </p:cNvCxnSpPr>
          <p:nvPr/>
        </p:nvCxnSpPr>
        <p:spPr>
          <a:xfrm flipV="1">
            <a:off x="7550925" y="1057588"/>
            <a:ext cx="453406" cy="941555"/>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0"/>
            <a:endCxn id="1100" idx="4"/>
          </p:cNvCxnSpPr>
          <p:nvPr/>
        </p:nvCxnSpPr>
        <p:spPr>
          <a:xfrm flipV="1">
            <a:off x="7550925"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0"/>
            <a:endCxn id="1101" idx="4"/>
          </p:cNvCxnSpPr>
          <p:nvPr/>
        </p:nvCxnSpPr>
        <p:spPr>
          <a:xfrm>
            <a:off x="7550925" y="1999143"/>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0"/>
            <a:endCxn id="1102" idx="4"/>
          </p:cNvCxnSpPr>
          <p:nvPr/>
        </p:nvCxnSpPr>
        <p:spPr>
          <a:xfrm flipV="1">
            <a:off x="7550925" y="1057588"/>
            <a:ext cx="453406" cy="16940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0"/>
            <a:endCxn id="1100" idx="4"/>
          </p:cNvCxnSpPr>
          <p:nvPr/>
        </p:nvCxnSpPr>
        <p:spPr>
          <a:xfrm flipV="1">
            <a:off x="7550925" y="1528727"/>
            <a:ext cx="453406" cy="12229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0"/>
            <a:endCxn id="1101" idx="4"/>
          </p:cNvCxnSpPr>
          <p:nvPr/>
        </p:nvCxnSpPr>
        <p:spPr>
          <a:xfrm flipV="1">
            <a:off x="7550925" y="1999143"/>
            <a:ext cx="453406" cy="7524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a:off x="6150688" y="781322"/>
            <a:ext cx="792000" cy="2252100"/>
            <a:chOff x="6814408" y="1801740"/>
            <a:chExt cx="792000" cy="2252100"/>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814408" y="1801740"/>
              <a:ext cx="792000" cy="2252100"/>
              <a:chOff x="4621388" y="1801740"/>
              <a:chExt cx="792000" cy="2252100"/>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621388" y="1801740"/>
                <a:ext cx="792000" cy="2252100"/>
                <a:chOff x="4292491" y="2599945"/>
                <a:chExt cx="792000" cy="2252100"/>
              </a:xfrm>
            </p:grpSpPr>
            <p:sp>
              <p:nvSpPr>
                <p:cNvPr id="1133" name="Rectangle 15">
                  <a:extLst>
                    <a:ext uri="{FF2B5EF4-FFF2-40B4-BE49-F238E27FC236}">
                      <a16:creationId xmlns:a16="http://schemas.microsoft.com/office/drawing/2014/main" id="{D8107496-B9C7-C845-2536-5ABC0A469781}"/>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135" name="Rechteck 1134">
                  <a:extLst>
                    <a:ext uri="{FF2B5EF4-FFF2-40B4-BE49-F238E27FC236}">
                      <a16:creationId xmlns:a16="http://schemas.microsoft.com/office/drawing/2014/main" id="{C0C77579-2C0C-D0E7-AE78-34CAFB1FCADA}"/>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31" name="Rectangle 15">
                <a:extLst>
                  <a:ext uri="{FF2B5EF4-FFF2-40B4-BE49-F238E27FC236}">
                    <a16:creationId xmlns:a16="http://schemas.microsoft.com/office/drawing/2014/main" id="{17A971B2-5A15-D31C-8C1F-AAE473A4A68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5400000">
              <a:off x="7030408" y="358666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sp>
        <p:nvSpPr>
          <p:cNvPr id="1136" name="Rectangle 21">
            <a:extLst>
              <a:ext uri="{FF2B5EF4-FFF2-40B4-BE49-F238E27FC236}">
                <a16:creationId xmlns:a16="http://schemas.microsoft.com/office/drawing/2014/main" id="{9F3719B0-C4E2-A0A7-F9F1-DB918BE22B7C}"/>
              </a:ext>
            </a:extLst>
          </p:cNvPr>
          <p:cNvSpPr/>
          <p:nvPr/>
        </p:nvSpPr>
        <p:spPr>
          <a:xfrm>
            <a:off x="6150688"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0"/>
            <a:endCxn id="1133" idx="4"/>
          </p:cNvCxnSpPr>
          <p:nvPr/>
        </p:nvCxnSpPr>
        <p:spPr>
          <a:xfrm>
            <a:off x="5910246" y="1057588"/>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0"/>
            <a:endCxn id="1131" idx="4"/>
          </p:cNvCxnSpPr>
          <p:nvPr/>
        </p:nvCxnSpPr>
        <p:spPr>
          <a:xfrm>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0"/>
            <a:endCxn id="1132" idx="4"/>
          </p:cNvCxnSpPr>
          <p:nvPr/>
        </p:nvCxnSpPr>
        <p:spPr>
          <a:xfrm>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0"/>
            <a:endCxn id="1129" idx="4"/>
          </p:cNvCxnSpPr>
          <p:nvPr/>
        </p:nvCxnSpPr>
        <p:spPr>
          <a:xfrm>
            <a:off x="5910246" y="1057588"/>
            <a:ext cx="456442" cy="16886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0"/>
            <a:endCxn id="1133" idx="4"/>
          </p:cNvCxnSpPr>
          <p:nvPr/>
        </p:nvCxnSpPr>
        <p:spPr>
          <a:xfrm flipV="1">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0"/>
            <a:endCxn id="1131" idx="4"/>
          </p:cNvCxnSpPr>
          <p:nvPr/>
        </p:nvCxnSpPr>
        <p:spPr>
          <a:xfrm>
            <a:off x="5910246" y="1528727"/>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0"/>
            <a:endCxn id="1132" idx="4"/>
          </p:cNvCxnSpPr>
          <p:nvPr/>
        </p:nvCxnSpPr>
        <p:spPr>
          <a:xfrm>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0"/>
            <a:endCxn id="1129" idx="4"/>
          </p:cNvCxnSpPr>
          <p:nvPr/>
        </p:nvCxnSpPr>
        <p:spPr>
          <a:xfrm>
            <a:off x="5910246" y="1528727"/>
            <a:ext cx="456442" cy="12175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0"/>
            <a:endCxn id="1133" idx="4"/>
          </p:cNvCxnSpPr>
          <p:nvPr/>
        </p:nvCxnSpPr>
        <p:spPr>
          <a:xfrm flipV="1">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0"/>
            <a:endCxn id="1131" idx="4"/>
          </p:cNvCxnSpPr>
          <p:nvPr/>
        </p:nvCxnSpPr>
        <p:spPr>
          <a:xfrm flipV="1">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0"/>
            <a:endCxn id="1132" idx="4"/>
          </p:cNvCxnSpPr>
          <p:nvPr/>
        </p:nvCxnSpPr>
        <p:spPr>
          <a:xfrm>
            <a:off x="5910246" y="1999143"/>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0"/>
            <a:endCxn id="1129" idx="4"/>
          </p:cNvCxnSpPr>
          <p:nvPr/>
        </p:nvCxnSpPr>
        <p:spPr>
          <a:xfrm>
            <a:off x="5910246" y="1999143"/>
            <a:ext cx="456442" cy="7471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0"/>
            <a:endCxn id="1133" idx="4"/>
          </p:cNvCxnSpPr>
          <p:nvPr/>
        </p:nvCxnSpPr>
        <p:spPr>
          <a:xfrm flipV="1">
            <a:off x="5910246" y="1057588"/>
            <a:ext cx="456442"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0"/>
            <a:endCxn id="1131" idx="4"/>
          </p:cNvCxnSpPr>
          <p:nvPr/>
        </p:nvCxnSpPr>
        <p:spPr>
          <a:xfrm flipV="1">
            <a:off x="5910246" y="1528727"/>
            <a:ext cx="456442"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0"/>
            <a:endCxn id="1132" idx="4"/>
          </p:cNvCxnSpPr>
          <p:nvPr/>
        </p:nvCxnSpPr>
        <p:spPr>
          <a:xfrm flipV="1">
            <a:off x="5910246" y="1999143"/>
            <a:ext cx="456442"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0"/>
            <a:endCxn id="1129" idx="4"/>
          </p:cNvCxnSpPr>
          <p:nvPr/>
        </p:nvCxnSpPr>
        <p:spPr>
          <a:xfrm flipV="1">
            <a:off x="5910246" y="2746248"/>
            <a:ext cx="456442" cy="2133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a:off x="8599667" y="781322"/>
            <a:ext cx="792000" cy="1502414"/>
            <a:chOff x="4621388" y="1801740"/>
            <a:chExt cx="792000" cy="1502414"/>
          </a:xfrm>
        </p:grpSpPr>
        <p:grpSp>
          <p:nvGrpSpPr>
            <p:cNvPr id="1188" name="Gruppieren 1187">
              <a:extLst>
                <a:ext uri="{FF2B5EF4-FFF2-40B4-BE49-F238E27FC236}">
                  <a16:creationId xmlns:a16="http://schemas.microsoft.com/office/drawing/2014/main" id="{4953D12E-3270-B7A6-751F-EDE189FD625B}"/>
                </a:ext>
              </a:extLst>
            </p:cNvPr>
            <p:cNvGrpSpPr/>
            <p:nvPr/>
          </p:nvGrpSpPr>
          <p:grpSpPr>
            <a:xfrm>
              <a:off x="4621388" y="1801740"/>
              <a:ext cx="792000" cy="1502414"/>
              <a:chOff x="4292491" y="2599945"/>
              <a:chExt cx="792000" cy="1502414"/>
            </a:xfrm>
          </p:grpSpPr>
          <p:sp>
            <p:nvSpPr>
              <p:cNvPr id="1191" name="Rectangle 15">
                <a:extLst>
                  <a:ext uri="{FF2B5EF4-FFF2-40B4-BE49-F238E27FC236}">
                    <a16:creationId xmlns:a16="http://schemas.microsoft.com/office/drawing/2014/main" id="{BA34A7B1-CE43-A670-EB1B-B796612B016C}"/>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92" name="Rechteck 1191">
                <a:extLst>
                  <a:ext uri="{FF2B5EF4-FFF2-40B4-BE49-F238E27FC236}">
                    <a16:creationId xmlns:a16="http://schemas.microsoft.com/office/drawing/2014/main" id="{19B261AE-0198-6919-3D54-F0D5A8A991A8}"/>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89" name="Rectangle 15">
              <a:extLst>
                <a:ext uri="{FF2B5EF4-FFF2-40B4-BE49-F238E27FC236}">
                  <a16:creationId xmlns:a16="http://schemas.microsoft.com/office/drawing/2014/main" id="{97F8FF05-A022-5E3B-2E77-0776AB82DEB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93" name="Rectangle 21">
            <a:extLst>
              <a:ext uri="{FF2B5EF4-FFF2-40B4-BE49-F238E27FC236}">
                <a16:creationId xmlns:a16="http://schemas.microsoft.com/office/drawing/2014/main" id="{1E878317-9915-A9C4-699F-E679ADA60BF6}"/>
              </a:ext>
            </a:extLst>
          </p:cNvPr>
          <p:cNvSpPr/>
          <p:nvPr/>
        </p:nvSpPr>
        <p:spPr>
          <a:xfrm>
            <a:off x="8599667"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gression Output</a:t>
            </a:r>
          </a:p>
        </p:txBody>
      </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0"/>
            <a:endCxn id="1191" idx="4"/>
          </p:cNvCxnSpPr>
          <p:nvPr/>
        </p:nvCxnSpPr>
        <p:spPr>
          <a:xfrm>
            <a:off x="8364331" y="1057588"/>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0"/>
            <a:endCxn id="1189" idx="4"/>
          </p:cNvCxnSpPr>
          <p:nvPr/>
        </p:nvCxnSpPr>
        <p:spPr>
          <a:xfrm>
            <a:off x="8364331" y="1528727"/>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0"/>
            <a:endCxn id="1190" idx="4"/>
          </p:cNvCxnSpPr>
          <p:nvPr/>
        </p:nvCxnSpPr>
        <p:spPr>
          <a:xfrm>
            <a:off x="8364331" y="1999143"/>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205" name="Gruppieren 1204">
            <a:extLst>
              <a:ext uri="{FF2B5EF4-FFF2-40B4-BE49-F238E27FC236}">
                <a16:creationId xmlns:a16="http://schemas.microsoft.com/office/drawing/2014/main" id="{C798BD42-44FC-8486-7406-E69B923731EA}"/>
              </a:ext>
            </a:extLst>
          </p:cNvPr>
          <p:cNvGrpSpPr/>
          <p:nvPr/>
        </p:nvGrpSpPr>
        <p:grpSpPr>
          <a:xfrm>
            <a:off x="9421150" y="781323"/>
            <a:ext cx="1482055" cy="1502414"/>
            <a:chOff x="1616346" y="2373154"/>
            <a:chExt cx="1482055" cy="1502414"/>
          </a:xfrm>
        </p:grpSpPr>
        <p:sp>
          <p:nvSpPr>
            <p:cNvPr id="1206" name="Rechteck 1205">
              <a:extLst>
                <a:ext uri="{FF2B5EF4-FFF2-40B4-BE49-F238E27FC236}">
                  <a16:creationId xmlns:a16="http://schemas.microsoft.com/office/drawing/2014/main" id="{5B680BBB-C852-5BC7-9A61-657E50C1EAD4}"/>
                </a:ext>
              </a:extLst>
            </p:cNvPr>
            <p:cNvSpPr/>
            <p:nvPr/>
          </p:nvSpPr>
          <p:spPr>
            <a:xfrm>
              <a:off x="1616346" y="2373154"/>
              <a:ext cx="1482055"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endParaRPr lang="en-GB" sz="1100" dirty="0">
                <a:latin typeface="Daimler CS" pitchFamily="2" charset="0"/>
              </a:endParaRPr>
            </a:p>
          </p:txBody>
        </p:sp>
        <p:sp>
          <p:nvSpPr>
            <p:cNvPr id="1207" name="Rectangle 15">
              <a:extLst>
                <a:ext uri="{FF2B5EF4-FFF2-40B4-BE49-F238E27FC236}">
                  <a16:creationId xmlns:a16="http://schemas.microsoft.com/office/drawing/2014/main" id="{2036E369-5083-E2DC-244E-720F05DCB548}"/>
                </a:ext>
              </a:extLst>
            </p:cNvPr>
            <p:cNvSpPr/>
            <p:nvPr/>
          </p:nvSpPr>
          <p:spPr>
            <a:xfrm>
              <a:off x="1839250" y="2599931"/>
              <a:ext cx="1033276" cy="1058898"/>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p:txBody>
        </p:sp>
      </p:grpSp>
      <p:sp>
        <p:nvSpPr>
          <p:cNvPr id="1208" name="Rectangle 21">
            <a:extLst>
              <a:ext uri="{FF2B5EF4-FFF2-40B4-BE49-F238E27FC236}">
                <a16:creationId xmlns:a16="http://schemas.microsoft.com/office/drawing/2014/main" id="{8EDB40A3-847D-E9F2-0F41-B7C381A9704E}"/>
              </a:ext>
            </a:extLst>
          </p:cNvPr>
          <p:cNvSpPr/>
          <p:nvPr/>
        </p:nvSpPr>
        <p:spPr>
          <a:xfrm>
            <a:off x="9419665" y="271467"/>
            <a:ext cx="1482054"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tatevector with 3 Channels 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0"/>
            <a:endCxn id="1207" idx="1"/>
          </p:cNvCxnSpPr>
          <p:nvPr/>
        </p:nvCxnSpPr>
        <p:spPr>
          <a:xfrm>
            <a:off x="9175667" y="1528727"/>
            <a:ext cx="468387" cy="88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0"/>
            <a:endCxn id="1207" idx="1"/>
          </p:cNvCxnSpPr>
          <p:nvPr/>
        </p:nvCxnSpPr>
        <p:spPr>
          <a:xfrm flipV="1">
            <a:off x="9175667" y="1537549"/>
            <a:ext cx="468387" cy="4615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0"/>
            <a:endCxn id="1207" idx="1"/>
          </p:cNvCxnSpPr>
          <p:nvPr/>
        </p:nvCxnSpPr>
        <p:spPr>
          <a:xfrm>
            <a:off x="9175667" y="1057588"/>
            <a:ext cx="468387" cy="4799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20280823"/>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29" name="Rechteck 2028">
            <a:extLst>
              <a:ext uri="{FF2B5EF4-FFF2-40B4-BE49-F238E27FC236}">
                <a16:creationId xmlns:a16="http://schemas.microsoft.com/office/drawing/2014/main" id="{EB10ABFB-6A21-E4D3-DD78-23C034F310F1}"/>
              </a:ext>
            </a:extLst>
          </p:cNvPr>
          <p:cNvSpPr/>
          <p:nvPr/>
        </p:nvSpPr>
        <p:spPr>
          <a:xfrm>
            <a:off x="512234" y="228599"/>
            <a:ext cx="3743996" cy="608171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075" idx="2"/>
            <a:endCxn id="1457" idx="0"/>
          </p:cNvCxnSpPr>
          <p:nvPr/>
        </p:nvCxnSpPr>
        <p:spPr>
          <a:xfrm flipH="1">
            <a:off x="3931269" y="1506756"/>
            <a:ext cx="630" cy="1728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2"/>
            <a:endCxn id="1455" idx="0"/>
          </p:cNvCxnSpPr>
          <p:nvPr/>
        </p:nvCxnSpPr>
        <p:spPr>
          <a:xfrm flipH="1">
            <a:off x="3460130" y="1506755"/>
            <a:ext cx="630" cy="17287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2"/>
            <a:endCxn id="1453" idx="0"/>
          </p:cNvCxnSpPr>
          <p:nvPr/>
        </p:nvCxnSpPr>
        <p:spPr>
          <a:xfrm flipH="1">
            <a:off x="2029249" y="1506751"/>
            <a:ext cx="954" cy="1728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591982" y="266700"/>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2987982" y="967120"/>
            <a:ext cx="943918"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2987982" y="967120"/>
            <a:ext cx="472779" cy="1819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30204" y="967120"/>
            <a:ext cx="957778" cy="18194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00731" y="195588"/>
            <a:ext cx="360640" cy="2261696"/>
            <a:chOff x="3901083" y="1898331"/>
            <a:chExt cx="360640" cy="226169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35" y="1898331"/>
              <a:ext cx="357688" cy="2261696"/>
              <a:chOff x="4682546" y="2696536"/>
              <a:chExt cx="357688" cy="226169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81393" y="2697694"/>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81392" y="3168833"/>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81388" y="4599390"/>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99925" y="2844978"/>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2"/>
            <a:endCxn id="1456" idx="0"/>
          </p:cNvCxnSpPr>
          <p:nvPr/>
        </p:nvCxnSpPr>
        <p:spPr>
          <a:xfrm>
            <a:off x="2986410" y="1503799"/>
            <a:ext cx="3304" cy="17583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04485" y="1442177"/>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3126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460130" y="2039632"/>
            <a:ext cx="947" cy="30147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2924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2989714"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04485" y="2017458"/>
            <a:ext cx="553442" cy="2262020"/>
            <a:chOff x="6985766" y="1898006"/>
            <a:chExt cx="553442" cy="226202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3221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461077" y="2701108"/>
            <a:ext cx="471139"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461077" y="2701108"/>
            <a:ext cx="471139"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461077" y="2701108"/>
            <a:ext cx="0"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2990661" y="2701108"/>
            <a:ext cx="470416"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30196" y="2701108"/>
            <a:ext cx="1430881"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2990661" y="2701108"/>
            <a:ext cx="470416"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2990661"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30196" y="2701108"/>
            <a:ext cx="1430881"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3019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693030" y="3290275"/>
            <a:ext cx="553442" cy="2017468"/>
            <a:chOff x="6975053" y="1898006"/>
            <a:chExt cx="553442"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975053" y="1898006"/>
              <a:ext cx="553442" cy="1781051"/>
              <a:chOff x="4782033" y="1898006"/>
              <a:chExt cx="553442" cy="1781051"/>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782033" y="1898006"/>
                <a:ext cx="553442" cy="1781051"/>
                <a:chOff x="4453136" y="2696211"/>
                <a:chExt cx="553442" cy="1781051"/>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798485"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27346"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41017" y="3868201"/>
            <a:ext cx="5384" cy="2094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856930"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09441" y="4194847"/>
            <a:ext cx="360000" cy="1301555"/>
            <a:chOff x="4837388" y="1898006"/>
            <a:chExt cx="360000" cy="1301555"/>
          </a:xfrm>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460219"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2989080" y="4437644"/>
            <a:ext cx="809406"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18664" y="4437644"/>
            <a:ext cx="127982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27347" y="4437644"/>
            <a:ext cx="13287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2989080"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18664" y="4437644"/>
            <a:ext cx="808683"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856931" y="4437644"/>
            <a:ext cx="603288"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856931" y="4437644"/>
            <a:ext cx="132149"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18664" y="4437644"/>
            <a:ext cx="338267"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41017" y="4437643"/>
            <a:ext cx="1319202"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41017" y="4437643"/>
            <a:ext cx="848063"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41017" y="4437643"/>
            <a:ext cx="377647"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695722" y="2734238"/>
            <a:ext cx="553442" cy="2012084"/>
            <a:chOff x="6985766" y="1898006"/>
            <a:chExt cx="553442" cy="2012084"/>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985766" y="1898006"/>
              <a:ext cx="553442" cy="1780146"/>
              <a:chOff x="4792746" y="1898006"/>
              <a:chExt cx="553442" cy="1780146"/>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792746" y="1898006"/>
                <a:ext cx="553442" cy="1780146"/>
                <a:chOff x="4463849" y="2696211"/>
                <a:chExt cx="553442" cy="1780146"/>
              </a:xfrm>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798485"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27346" y="3276389"/>
            <a:ext cx="60487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856930" y="3276389"/>
            <a:ext cx="107528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46401" y="3276389"/>
            <a:ext cx="178581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461077" y="3276389"/>
            <a:ext cx="337408"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27346"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856930" y="3276389"/>
            <a:ext cx="604147"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46401" y="3276389"/>
            <a:ext cx="131467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2990661" y="3276389"/>
            <a:ext cx="80782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2990661" y="3276389"/>
            <a:ext cx="33668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856930"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46401" y="3276389"/>
            <a:ext cx="84426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30196" y="3276389"/>
            <a:ext cx="1768289"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30196" y="3276389"/>
            <a:ext cx="129715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30196" y="3276389"/>
            <a:ext cx="82673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30196" y="3276389"/>
            <a:ext cx="11620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09441" y="4745833"/>
            <a:ext cx="360000" cy="1301555"/>
            <a:chOff x="4837388" y="1898006"/>
            <a:chExt cx="360000" cy="1301555"/>
          </a:xfrm>
          <a:solidFill>
            <a:schemeClr val="accent2">
              <a:lumMod val="50000"/>
            </a:schemeClr>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460219"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2989080"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18664"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08401" y="589566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12233" y="1045081"/>
            <a:ext cx="3744000" cy="51083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12233" y="1581644"/>
            <a:ext cx="3744000" cy="627387"/>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12233" y="228600"/>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12233" y="2237532"/>
            <a:ext cx="3744000" cy="5534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12233" y="2817702"/>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12233" y="3967520"/>
            <a:ext cx="3744000" cy="54635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12233" y="4537927"/>
            <a:ext cx="3744000" cy="5501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12233" y="3393316"/>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12233" y="5112110"/>
            <a:ext cx="3744000" cy="6507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 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12233" y="578689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2989080" y="5576611"/>
            <a:ext cx="15321"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18664" y="5576611"/>
            <a:ext cx="485737"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04401" y="5576611"/>
            <a:ext cx="455818"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2986411" y="967120"/>
            <a:ext cx="1571" cy="1789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2"/>
          <a:srcRect l="3207" r="2284" b="5859"/>
          <a:stretch/>
        </p:blipFill>
        <p:spPr>
          <a:xfrm>
            <a:off x="593725" y="5329771"/>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3"/>
          <a:srcRect l="1229" t="875" r="764"/>
          <a:stretch/>
        </p:blipFill>
        <p:spPr>
          <a:xfrm>
            <a:off x="593726" y="178910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03538" y="780701"/>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Tree>
    <p:extLst>
      <p:ext uri="{BB962C8B-B14F-4D97-AF65-F5344CB8AC3E}">
        <p14:creationId xmlns:p14="http://schemas.microsoft.com/office/powerpoint/2010/main" val="1927073925"/>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2"/>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3"/>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4114295794"/>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5625</Words>
  <Application>Microsoft Office PowerPoint</Application>
  <PresentationFormat>Breitbild</PresentationFormat>
  <Paragraphs>1037</Paragraphs>
  <Slides>46</Slides>
  <Notes>39</Notes>
  <HiddenSlides>11</HiddenSlides>
  <MMClips>2</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2</vt:i4>
      </vt:variant>
      <vt:variant>
        <vt:lpstr>Folientitel</vt:lpstr>
      </vt:variant>
      <vt:variant>
        <vt:i4>46</vt:i4>
      </vt:variant>
    </vt:vector>
  </HeadingPairs>
  <TitlesOfParts>
    <vt:vector size="57" baseType="lpstr">
      <vt:lpstr>Arial</vt:lpstr>
      <vt:lpstr>Calibri</vt:lpstr>
      <vt:lpstr>Cambria Math</vt:lpstr>
      <vt:lpstr>Daimler CS</vt:lpstr>
      <vt:lpstr>Lucida Grande</vt:lpstr>
      <vt:lpstr>Menlo</vt:lpstr>
      <vt:lpstr>Söhne</vt:lpstr>
      <vt:lpstr>Wingdings</vt:lpstr>
      <vt:lpstr>TTS Theme 2022 - Light</vt:lpstr>
      <vt:lpstr>think-cell Folie</vt:lpstr>
      <vt:lpstr>Presentation</vt:lpstr>
      <vt:lpstr>PowerPoint-Prä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Prä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400</cp:revision>
  <dcterms:created xsi:type="dcterms:W3CDTF">2022-02-05T01:08:08Z</dcterms:created>
  <dcterms:modified xsi:type="dcterms:W3CDTF">2024-05-17T08:0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